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82" r:id="rId2"/>
    <p:sldMasterId id="2147483671" r:id="rId3"/>
  </p:sldMasterIdLst>
  <p:notesMasterIdLst>
    <p:notesMasterId r:id="rId18"/>
  </p:notesMasterIdLst>
  <p:handoutMasterIdLst>
    <p:handoutMasterId r:id="rId19"/>
  </p:handoutMasterIdLst>
  <p:sldIdLst>
    <p:sldId id="358" r:id="rId4"/>
    <p:sldId id="302" r:id="rId5"/>
    <p:sldId id="356" r:id="rId6"/>
    <p:sldId id="381" r:id="rId7"/>
    <p:sldId id="377" r:id="rId8"/>
    <p:sldId id="382" r:id="rId9"/>
    <p:sldId id="383" r:id="rId10"/>
    <p:sldId id="384" r:id="rId11"/>
    <p:sldId id="385" r:id="rId12"/>
    <p:sldId id="386" r:id="rId13"/>
    <p:sldId id="387" r:id="rId14"/>
    <p:sldId id="388" r:id="rId15"/>
    <p:sldId id="389" r:id="rId16"/>
    <p:sldId id="365" r:id="rId17"/>
  </p:sldIdLst>
  <p:sldSz cx="9144000" cy="5715000" type="screen16x10"/>
  <p:notesSz cx="6797675" cy="9928225"/>
  <p:defaultTextStyle>
    <a:defPPr>
      <a:defRPr lang="en-US"/>
    </a:defPPr>
    <a:lvl1pPr marL="0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0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483" autoAdjust="0"/>
    <p:restoredTop sz="91880" autoAdjust="0"/>
  </p:normalViewPr>
  <p:slideViewPr>
    <p:cSldViewPr>
      <p:cViewPr varScale="1">
        <p:scale>
          <a:sx n="84" d="100"/>
          <a:sy n="84" d="100"/>
        </p:scale>
        <p:origin x="1008" y="72"/>
      </p:cViewPr>
      <p:guideLst>
        <p:guide orient="horz" pos="180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-2154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496411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l">
              <a:defRPr sz="1200"/>
            </a:lvl1pPr>
          </a:lstStyle>
          <a:p>
            <a:pPr algn="r"/>
            <a:endParaRPr lang="en-US" sz="1400" b="1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1200"/>
            </a:lvl1pPr>
          </a:lstStyle>
          <a:p>
            <a:r>
              <a:rPr lang="en-US" sz="800" dirty="0" smtClean="0"/>
              <a:t>© 2011 </a:t>
            </a:r>
            <a:r>
              <a:rPr lang="en-US" sz="800" dirty="0" err="1" smtClean="0"/>
              <a:t>Capgemini</a:t>
            </a:r>
            <a:r>
              <a:rPr lang="en-US" sz="800" dirty="0" smtClean="0"/>
              <a:t>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1200"/>
            </a:lvl1pPr>
          </a:lstStyle>
          <a:p>
            <a:fld id="{31BBAEFF-FCA4-4EA1-946D-1EE330CB54A8}" type="slidenum">
              <a:rPr lang="en-US" sz="800" b="1" smtClean="0"/>
              <a:pPr/>
              <a:t>‹#›</a:t>
            </a:fld>
            <a:endParaRPr lang="en-US" sz="800" b="1" dirty="0" smtClean="0"/>
          </a:p>
        </p:txBody>
      </p:sp>
    </p:spTree>
    <p:extLst>
      <p:ext uri="{BB962C8B-B14F-4D97-AF65-F5344CB8AC3E}">
        <p14:creationId xmlns:p14="http://schemas.microsoft.com/office/powerpoint/2010/main" val="811041044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496411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>
              <a:defRPr sz="1400" b="1"/>
            </a:lvl1pPr>
          </a:lstStyle>
          <a:p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222250" y="620713"/>
            <a:ext cx="6353175" cy="3970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2405" y="4715907"/>
            <a:ext cx="6372865" cy="45918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800"/>
            </a:lvl1pPr>
          </a:lstStyle>
          <a:p>
            <a:r>
              <a:rPr lang="en-US" dirty="0" smtClean="0"/>
              <a:t>© 2011 </a:t>
            </a:r>
            <a:r>
              <a:rPr lang="en-US" dirty="0" err="1" smtClean="0"/>
              <a:t>Capgemini</a:t>
            </a:r>
            <a:r>
              <a:rPr lang="en-US" dirty="0" smtClean="0"/>
              <a:t>. All rights reserved.</a:t>
            </a:r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800" b="1"/>
            </a:lvl1pPr>
          </a:lstStyle>
          <a:p>
            <a:fld id="{CBC04D6F-FB7D-4867-9F14-E5091822240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7455397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54227" indent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07101" indent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461328" indent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15555" indent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2011 </a:t>
            </a:r>
            <a:r>
              <a:rPr lang="en-US" dirty="0" err="1" smtClean="0"/>
              <a:t>Capgemini</a:t>
            </a:r>
            <a:r>
              <a:rPr lang="en-US" dirty="0" smtClean="0"/>
              <a:t>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06810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7" descr="shutterstock_30013249.jpg"/>
          <p:cNvPicPr>
            <a:picLocks noChangeAspect="1"/>
          </p:cNvPicPr>
          <p:nvPr userDrawn="1"/>
        </p:nvPicPr>
        <p:blipFill>
          <a:blip r:embed="rId3" cstate="print"/>
          <a:srcRect t="9987" r="127" b="1774"/>
          <a:stretch>
            <a:fillRect/>
          </a:stretch>
        </p:blipFill>
        <p:spPr bwMode="auto">
          <a:xfrm>
            <a:off x="-39836" y="1068917"/>
            <a:ext cx="9183836" cy="4646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4653" y="955147"/>
            <a:ext cx="9158654" cy="4759854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77925" tIns="38963" rIns="77925" bIns="38963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03336" y="306917"/>
            <a:ext cx="1992923" cy="424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" y="2334948"/>
            <a:ext cx="4886325" cy="660136"/>
          </a:xfrm>
        </p:spPr>
        <p:txBody>
          <a:bodyPr lIns="276113" tIns="153396" rIns="0"/>
          <a:lstStyle>
            <a:lvl1pPr marL="2706" indent="0">
              <a:buFont typeface="Wingdings" pitchFamily="2" charset="2"/>
              <a:buNone/>
              <a:defRPr sz="17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sub-title style</a:t>
            </a:r>
            <a:endParaRPr lang="en-US" noProof="0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033659"/>
            <a:ext cx="9144000" cy="1260739"/>
          </a:xfrm>
        </p:spPr>
        <p:txBody>
          <a:bodyPr lIns="276113" tIns="337471" rIns="30679" bIns="30679" anchor="t"/>
          <a:lstStyle>
            <a:lvl1pPr marL="0" indent="0" algn="l">
              <a:tabLst/>
              <a:defRPr sz="310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8" name="Image 7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690290" y="311428"/>
            <a:ext cx="3214885" cy="300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775355"/>
            <a:ext cx="7772400" cy="122502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C500E-AD66-488F-A872-75C52CFC7C11}" type="datetime1">
              <a:rPr lang="sv-SE" smtClean="0"/>
              <a:pPr/>
              <a:t>2016-07-03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0E27EC-F835-494C-A39E-3025FB6077FA}" type="datetime1">
              <a:rPr lang="sv-SE" smtClean="0"/>
              <a:pPr/>
              <a:t>2016-07-03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3672418"/>
            <a:ext cx="7772400" cy="1135062"/>
          </a:xfrm>
        </p:spPr>
        <p:txBody>
          <a:bodyPr anchor="t"/>
          <a:lstStyle>
            <a:lvl1pPr algn="l">
              <a:defRPr sz="3400" b="1" cap="all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422261"/>
            <a:ext cx="7772400" cy="1250156"/>
          </a:xfrm>
        </p:spPr>
        <p:txBody>
          <a:bodyPr anchor="b"/>
          <a:lstStyle>
            <a:lvl1pPr marL="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1pPr>
            <a:lvl2pPr marL="38962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77925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6887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585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4812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3775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2738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1700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A7ACD-79EF-42D1-A067-785A3C82FC0E}" type="datetime1">
              <a:rPr lang="sv-SE" smtClean="0"/>
              <a:pPr/>
              <a:t>2016-07-03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33501"/>
            <a:ext cx="4044462" cy="377163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333501"/>
            <a:ext cx="4044462" cy="377163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97FC0F-F86F-4CFA-BCB8-1DB01D2E5675}" type="datetime1">
              <a:rPr lang="sv-SE" smtClean="0"/>
              <a:pPr/>
              <a:t>2016-07-03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9261"/>
            <a:ext cx="4040066" cy="533136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066" cy="3292740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71" y="1279261"/>
            <a:ext cx="4041531" cy="533136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71" y="1812396"/>
            <a:ext cx="4041531" cy="3292740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EC4747-0B79-492F-9DA7-AAF6176D0DA4}" type="datetime1">
              <a:rPr lang="sv-SE" smtClean="0"/>
              <a:pPr/>
              <a:t>2016-07-03</a:t>
            </a:fld>
            <a:endParaRPr lang="sv-S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6A7F3-B72E-4A48-A249-F2217CB04C17}" type="datetime1">
              <a:rPr lang="sv-SE" smtClean="0"/>
              <a:pPr/>
              <a:t>2016-07-03</a:t>
            </a:fld>
            <a:endParaRPr lang="sv-S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DE40AC-8756-4774-92AB-E3D9585E96B3}" type="datetime1">
              <a:rPr lang="sv-SE" smtClean="0"/>
              <a:pPr/>
              <a:t>2016-07-03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7541"/>
            <a:ext cx="3008435" cy="968376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27543"/>
            <a:ext cx="5111262" cy="4877594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195918"/>
            <a:ext cx="3008435" cy="3909219"/>
          </a:xfrm>
        </p:spPr>
        <p:txBody>
          <a:bodyPr/>
          <a:lstStyle>
            <a:lvl1pPr marL="0" indent="0">
              <a:buNone/>
              <a:defRPr sz="1200"/>
            </a:lvl1pPr>
            <a:lvl2pPr marL="389626" indent="0">
              <a:buNone/>
              <a:defRPr sz="1000"/>
            </a:lvl2pPr>
            <a:lvl3pPr marL="779252" indent="0">
              <a:buNone/>
              <a:defRPr sz="900"/>
            </a:lvl3pPr>
            <a:lvl4pPr marL="1168878" indent="0">
              <a:buNone/>
              <a:defRPr sz="800"/>
            </a:lvl4pPr>
            <a:lvl5pPr marL="1558503" indent="0">
              <a:buNone/>
              <a:defRPr sz="800"/>
            </a:lvl5pPr>
            <a:lvl6pPr marL="1948129" indent="0">
              <a:buNone/>
              <a:defRPr sz="800"/>
            </a:lvl6pPr>
            <a:lvl7pPr marL="2337755" indent="0">
              <a:buNone/>
              <a:defRPr sz="800"/>
            </a:lvl7pPr>
            <a:lvl8pPr marL="2727381" indent="0">
              <a:buNone/>
              <a:defRPr sz="800"/>
            </a:lvl8pPr>
            <a:lvl9pPr marL="3117007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7CC40-9798-460F-967E-8994E0F87AB9}" type="datetime1">
              <a:rPr lang="sv-SE" smtClean="0"/>
              <a:pPr/>
              <a:t>2016-07-03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000500"/>
            <a:ext cx="5486400" cy="472282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510646"/>
            <a:ext cx="5486400" cy="3429000"/>
          </a:xfrm>
        </p:spPr>
        <p:txBody>
          <a:bodyPr/>
          <a:lstStyle>
            <a:lvl1pPr marL="0" indent="0">
              <a:buNone/>
              <a:defRPr sz="2700"/>
            </a:lvl1pPr>
            <a:lvl2pPr marL="389626" indent="0">
              <a:buNone/>
              <a:defRPr sz="2400"/>
            </a:lvl2pPr>
            <a:lvl3pPr marL="779252" indent="0">
              <a:buNone/>
              <a:defRPr sz="2000"/>
            </a:lvl3pPr>
            <a:lvl4pPr marL="1168878" indent="0">
              <a:buNone/>
              <a:defRPr sz="1700"/>
            </a:lvl4pPr>
            <a:lvl5pPr marL="1558503" indent="0">
              <a:buNone/>
              <a:defRPr sz="1700"/>
            </a:lvl5pPr>
            <a:lvl6pPr marL="1948129" indent="0">
              <a:buNone/>
              <a:defRPr sz="1700"/>
            </a:lvl6pPr>
            <a:lvl7pPr marL="2337755" indent="0">
              <a:buNone/>
              <a:defRPr sz="1700"/>
            </a:lvl7pPr>
            <a:lvl8pPr marL="2727381" indent="0">
              <a:buNone/>
              <a:defRPr sz="1700"/>
            </a:lvl8pPr>
            <a:lvl9pPr marL="3117007" indent="0">
              <a:buNone/>
              <a:defRPr sz="1700"/>
            </a:lvl9pPr>
          </a:lstStyle>
          <a:p>
            <a:endParaRPr lang="sv-S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4472782"/>
            <a:ext cx="5486400" cy="670719"/>
          </a:xfrm>
        </p:spPr>
        <p:txBody>
          <a:bodyPr/>
          <a:lstStyle>
            <a:lvl1pPr marL="0" indent="0">
              <a:buNone/>
              <a:defRPr sz="1200"/>
            </a:lvl1pPr>
            <a:lvl2pPr marL="389626" indent="0">
              <a:buNone/>
              <a:defRPr sz="1000"/>
            </a:lvl2pPr>
            <a:lvl3pPr marL="779252" indent="0">
              <a:buNone/>
              <a:defRPr sz="900"/>
            </a:lvl3pPr>
            <a:lvl4pPr marL="1168878" indent="0">
              <a:buNone/>
              <a:defRPr sz="800"/>
            </a:lvl4pPr>
            <a:lvl5pPr marL="1558503" indent="0">
              <a:buNone/>
              <a:defRPr sz="800"/>
            </a:lvl5pPr>
            <a:lvl6pPr marL="1948129" indent="0">
              <a:buNone/>
              <a:defRPr sz="800"/>
            </a:lvl6pPr>
            <a:lvl7pPr marL="2337755" indent="0">
              <a:buNone/>
              <a:defRPr sz="800"/>
            </a:lvl7pPr>
            <a:lvl8pPr marL="2727381" indent="0">
              <a:buNone/>
              <a:defRPr sz="800"/>
            </a:lvl8pPr>
            <a:lvl9pPr marL="3117007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5D6CC-B30E-4E36-B206-7B891AD51EB1}" type="datetime1">
              <a:rPr lang="sv-SE" smtClean="0"/>
              <a:pPr/>
              <a:t>2016-07-03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88EBE4-6C48-4FA0-A908-0BF086D55672}" type="datetime1">
              <a:rPr lang="sv-SE" smtClean="0"/>
              <a:pPr/>
              <a:t>2016-07-03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KeyWo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ppt_KeyWords_Bkgd_OK.jpg"/>
          <p:cNvPicPr>
            <a:picLocks noChangeAspect="1"/>
          </p:cNvPicPr>
          <p:nvPr userDrawn="1"/>
        </p:nvPicPr>
        <p:blipFill>
          <a:blip r:embed="rId3" cstate="print"/>
          <a:srcRect b="20413"/>
          <a:stretch>
            <a:fillRect/>
          </a:stretch>
        </p:blipFill>
        <p:spPr>
          <a:xfrm>
            <a:off x="0" y="1071551"/>
            <a:ext cx="9144000" cy="4643450"/>
          </a:xfrm>
          <a:prstGeom prst="rect">
            <a:avLst/>
          </a:prstGeom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4653" y="955147"/>
            <a:ext cx="9158654" cy="4759854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77925" tIns="38963" rIns="77925" bIns="38963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03336" y="306917"/>
            <a:ext cx="1992923" cy="424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" y="2334948"/>
            <a:ext cx="4886325" cy="660136"/>
          </a:xfrm>
        </p:spPr>
        <p:txBody>
          <a:bodyPr lIns="276113" tIns="153396" rIns="0"/>
          <a:lstStyle>
            <a:lvl1pPr marL="2706" indent="0">
              <a:buFont typeface="Wingdings" pitchFamily="2" charset="2"/>
              <a:buNone/>
              <a:defRPr sz="17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-title style</a:t>
            </a:r>
            <a:endParaRPr lang="en-US" noProof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033659"/>
            <a:ext cx="9144000" cy="12607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276113" tIns="337471" rIns="30679" bIns="30679" numCol="1" anchor="t" anchorCtr="0" compatLnSpc="1">
            <a:prstTxWarp prst="textNoShape">
              <a:avLst/>
            </a:prstTxWarp>
          </a:bodyPr>
          <a:lstStyle>
            <a:lvl1pPr marL="0" indent="0" algn="l" defTabSz="779252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100" b="1" kern="1200" noProof="0" dirty="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10" name="Image 9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690290" y="311428"/>
            <a:ext cx="3214885" cy="300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28866"/>
            <a:ext cx="2057400" cy="4876271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1" y="228866"/>
            <a:ext cx="6031523" cy="487627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9427BC-B659-437B-AFBF-8C55F1CA1387}" type="datetime1">
              <a:rPr lang="sv-SE" smtClean="0"/>
              <a:pPr/>
              <a:t>2016-07-03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2" y="-31749"/>
            <a:ext cx="9165981" cy="574675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7925" tIns="38963" rIns="77925" bIns="38963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0" y="752740"/>
            <a:ext cx="9144000" cy="952500"/>
          </a:xfrm>
          <a:prstGeom prst="rect">
            <a:avLst/>
          </a:prstGeom>
        </p:spPr>
        <p:txBody>
          <a:bodyPr lIns="306792" tIns="38963" rIns="30679" bIns="38963" anchor="b"/>
          <a:lstStyle>
            <a:lvl1pPr algn="l">
              <a:defRPr sz="3100" b="1" baseline="0">
                <a:solidFill>
                  <a:schemeClr val="tx2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7"/>
          <p:cNvSpPr>
            <a:spLocks/>
          </p:cNvSpPr>
          <p:nvPr userDrawn="1"/>
        </p:nvSpPr>
        <p:spPr bwMode="auto">
          <a:xfrm>
            <a:off x="2" y="-31749"/>
            <a:ext cx="9165981" cy="574675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7925" tIns="38963" rIns="77925" bIns="38963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6979089" y="4480292"/>
            <a:ext cx="216491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06792" bIns="0">
            <a:spAutoFit/>
          </a:bodyPr>
          <a:lstStyle/>
          <a:p>
            <a:pPr algn="r">
              <a:spcBef>
                <a:spcPct val="20000"/>
              </a:spcBef>
              <a:defRPr/>
            </a:pPr>
            <a:r>
              <a:rPr lang="en-US" sz="1500" b="0" dirty="0" smtClean="0">
                <a:solidFill>
                  <a:schemeClr val="bg1"/>
                </a:solidFill>
              </a:rPr>
              <a:t>www.se.capgemini.com</a:t>
            </a:r>
            <a:endParaRPr lang="en-US" sz="1500" b="0" dirty="0">
              <a:solidFill>
                <a:schemeClr val="bg1"/>
              </a:solidFill>
            </a:endParaRPr>
          </a:p>
        </p:txBody>
      </p:sp>
      <p:pic>
        <p:nvPicPr>
          <p:cNvPr id="7" name="Picture 9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26934" y="768339"/>
            <a:ext cx="4317023" cy="847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0" y="5494703"/>
            <a:ext cx="9144000" cy="220297"/>
          </a:xfrm>
          <a:prstGeom prst="rect">
            <a:avLst/>
          </a:prstGeom>
        </p:spPr>
        <p:txBody>
          <a:bodyPr lIns="77925" tIns="0" rIns="306792" bIns="153396" anchor="b">
            <a:spAutoFit/>
          </a:bodyPr>
          <a:lstStyle/>
          <a:p>
            <a:pPr algn="r" eaLnBrk="0" hangingPunct="0">
              <a:lnSpc>
                <a:spcPct val="85000"/>
              </a:lnSpc>
              <a:defRPr/>
            </a:pPr>
            <a:r>
              <a:rPr lang="en-US" sz="500" dirty="0">
                <a:solidFill>
                  <a:schemeClr val="bg1"/>
                </a:solidFill>
              </a:rPr>
              <a:t>The information contained in this presentation is </a:t>
            </a:r>
            <a:r>
              <a:rPr lang="en-US" sz="500" dirty="0" smtClean="0">
                <a:solidFill>
                  <a:schemeClr val="bg1"/>
                </a:solidFill>
              </a:rPr>
              <a:t>proprietary. ©2012 </a:t>
            </a:r>
            <a:r>
              <a:rPr lang="en-US" sz="500" dirty="0" err="1">
                <a:solidFill>
                  <a:schemeClr val="bg1"/>
                </a:solidFill>
              </a:rPr>
              <a:t>Capgemini</a:t>
            </a:r>
            <a:r>
              <a:rPr lang="en-US" sz="500" dirty="0">
                <a:solidFill>
                  <a:schemeClr val="bg1"/>
                </a:solidFill>
              </a:rPr>
              <a:t>. All rights reserved</a:t>
            </a:r>
          </a:p>
        </p:txBody>
      </p:sp>
      <p:pic>
        <p:nvPicPr>
          <p:cNvPr id="9" name="Image 8" descr="Capgemini_Slogan_Whi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368959" y="4046878"/>
            <a:ext cx="3511303" cy="327661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7" descr="shutterstock_30013249.jpg"/>
          <p:cNvPicPr>
            <a:picLocks noChangeAspect="1"/>
          </p:cNvPicPr>
          <p:nvPr userDrawn="1"/>
        </p:nvPicPr>
        <p:blipFill>
          <a:blip r:embed="rId2" cstate="print"/>
          <a:srcRect t="9987" r="127" b="1774"/>
          <a:stretch>
            <a:fillRect/>
          </a:stretch>
        </p:blipFill>
        <p:spPr bwMode="auto">
          <a:xfrm>
            <a:off x="-39836" y="1068917"/>
            <a:ext cx="9183836" cy="4646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Freeform 7"/>
          <p:cNvSpPr>
            <a:spLocks/>
          </p:cNvSpPr>
          <p:nvPr userDrawn="1"/>
        </p:nvSpPr>
        <p:spPr bwMode="auto">
          <a:xfrm>
            <a:off x="2" y="-31749"/>
            <a:ext cx="9165981" cy="574675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7925" tIns="38963" rIns="77925" bIns="38963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>
          <a:xfrm>
            <a:off x="0" y="753000"/>
            <a:ext cx="9144000" cy="952500"/>
          </a:xfrm>
          <a:prstGeom prst="rect">
            <a:avLst/>
          </a:prstGeom>
        </p:spPr>
        <p:txBody>
          <a:bodyPr lIns="306792" tIns="38963" rIns="30679" bIns="38963" anchor="b"/>
          <a:lstStyle>
            <a:lvl1pPr algn="l" defTabSz="779252" rtl="0" eaLnBrk="1" latinLnBrk="0" hangingPunct="1">
              <a:spcBef>
                <a:spcPct val="0"/>
              </a:spcBef>
              <a:buNone/>
              <a:defRPr lang="en-US" sz="3100" b="1" kern="1200" baseline="0" noProof="0" dirty="0" smtClean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B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itre 7"/>
          <p:cNvSpPr>
            <a:spLocks noGrp="1"/>
          </p:cNvSpPr>
          <p:nvPr>
            <p:ph type="title" hasCustomPrompt="1"/>
          </p:nvPr>
        </p:nvSpPr>
        <p:spPr>
          <a:xfrm>
            <a:off x="0" y="3583940"/>
            <a:ext cx="9144000" cy="952500"/>
          </a:xfrm>
          <a:prstGeom prst="rect">
            <a:avLst/>
          </a:prstGeom>
        </p:spPr>
        <p:txBody>
          <a:bodyPr lIns="306792" tIns="38963" rIns="306792" bIns="38963" anchor="t"/>
          <a:lstStyle>
            <a:lvl1pPr algn="r" defTabSz="779252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3100" b="1" kern="1200" baseline="0" noProof="0" dirty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Freeform 7"/>
          <p:cNvSpPr>
            <a:spLocks/>
          </p:cNvSpPr>
          <p:nvPr userDrawn="1"/>
        </p:nvSpPr>
        <p:spPr bwMode="auto">
          <a:xfrm>
            <a:off x="2" y="1"/>
            <a:ext cx="9165981" cy="574675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blipFill dpi="0" rotWithShape="0">
            <a:blip r:embed="rId2" cstate="print"/>
            <a:srcRect/>
            <a:stretch>
              <a:fillRect r="-10000"/>
            </a:stretch>
          </a:blip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7925" tIns="38963" rIns="77925" bIns="38963"/>
          <a:lstStyle/>
          <a:p>
            <a:pPr algn="ctr" eaLnBrk="0" hangingPunct="0">
              <a:lnSpc>
                <a:spcPct val="85000"/>
              </a:lnSpc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866"/>
            <a:ext cx="8229600" cy="952500"/>
          </a:xfrm>
          <a:prstGeom prst="rect">
            <a:avLst/>
          </a:prstGeom>
        </p:spPr>
        <p:txBody>
          <a:bodyPr lIns="77925" tIns="38963" rIns="77925" bIns="38963"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1020000"/>
            <a:ext cx="9144000" cy="990000"/>
          </a:xfrm>
        </p:spPr>
        <p:txBody>
          <a:bodyPr tIns="153396" anchor="ctr" anchorCtr="0"/>
          <a:lstStyle>
            <a:lvl1pPr>
              <a:defRPr b="1" cap="small" baseline="0"/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119314"/>
            <a:ext cx="9144000" cy="2960688"/>
          </a:xfrm>
        </p:spPr>
        <p:txBody>
          <a:bodyPr/>
          <a:lstStyle>
            <a:lvl1pPr marL="225929" indent="-225929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898108" y="5460198"/>
            <a:ext cx="1238561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3A6DCFF-17F1-441B-8151-E0E2832CF14A}" type="datetime1">
              <a:rPr lang="sv-SE" smtClean="0"/>
              <a:pPr>
                <a:defRPr/>
              </a:pPr>
              <a:t>2016-07-03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99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1199999"/>
            <a:ext cx="9144000" cy="3900000"/>
          </a:xfrm>
        </p:spPr>
        <p:txBody>
          <a:bodyPr/>
          <a:lstStyle>
            <a:lvl1pPr marL="232693" indent="-232693">
              <a:defRPr baseline="0">
                <a:solidFill>
                  <a:schemeClr val="tx1"/>
                </a:solidFill>
              </a:defRPr>
            </a:lvl1pPr>
            <a:lvl2pPr marL="453211" indent="-150169">
              <a:defRPr>
                <a:solidFill>
                  <a:schemeClr val="tx1"/>
                </a:solidFill>
              </a:defRPr>
            </a:lvl2pPr>
            <a:lvl3pPr marL="685904" indent="-151521">
              <a:buClr>
                <a:schemeClr val="accent1"/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3pPr>
            <a:lvl4pPr marL="988947" indent="-221870">
              <a:buClr>
                <a:schemeClr val="accent3"/>
              </a:buClr>
              <a:defRPr>
                <a:solidFill>
                  <a:schemeClr val="tx1"/>
                </a:solidFill>
              </a:defRPr>
            </a:lvl4pPr>
            <a:lvl5pPr marL="1221640" indent="-151521">
              <a:defRPr sz="1200" baseline="0"/>
            </a:lvl5pPr>
            <a:lvl6pPr>
              <a:buNone/>
              <a:defRPr/>
            </a:lvl6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</a:p>
        </p:txBody>
      </p:sp>
      <p:sp>
        <p:nvSpPr>
          <p:cNvPr id="8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9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77B335F-67F5-4389-9B38-99311ED43AC3}" type="datetime1">
              <a:rPr lang="sv-SE" smtClean="0"/>
              <a:pPr>
                <a:defRPr/>
              </a:pPr>
              <a:t>2016-07-03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99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1358" tIns="214754" rIns="61358" bIns="30679" numCol="1" anchor="ctr" anchorCtr="0" compatLnSpc="1">
            <a:prstTxWarp prst="textNoShape">
              <a:avLst/>
            </a:prstTxWarp>
          </a:bodyPr>
          <a:lstStyle>
            <a:lvl1pPr marL="608790" indent="-608790"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2600" b="1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1751462"/>
            <a:ext cx="9144000" cy="335367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>
            <a:lvl1pPr algn="l" defTabSz="608790" rtl="0" eaLnBrk="0" fontAlgn="base" hangingPunct="0">
              <a:spcBef>
                <a:spcPct val="200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608790" rtl="0" eaLnBrk="0" fontAlgn="base" hangingPunct="0">
              <a:spcBef>
                <a:spcPct val="20000"/>
              </a:spcBef>
              <a:spcAft>
                <a:spcPct val="0"/>
              </a:spcAft>
              <a:defRPr lang="fr-FR" sz="17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608790" rtl="0" eaLnBrk="0" fontAlgn="base" hangingPunct="0">
              <a:spcBef>
                <a:spcPct val="20000"/>
              </a:spcBef>
              <a:spcAft>
                <a:spcPct val="0"/>
              </a:spcAft>
              <a:defRPr lang="fr-FR" sz="15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608790" rtl="0" eaLnBrk="0" fontAlgn="base" hangingPunct="0">
              <a:spcBef>
                <a:spcPct val="20000"/>
              </a:spcBef>
              <a:spcAft>
                <a:spcPct val="0"/>
              </a:spcAft>
              <a:defRPr lang="fr-FR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6228" indent="-227282" algn="l" defTabSz="542500" rtl="0" eaLnBrk="0" fontAlgn="base" hangingPunct="0">
              <a:spcBef>
                <a:spcPct val="20000"/>
              </a:spcBef>
              <a:spcAft>
                <a:spcPct val="0"/>
              </a:spcAft>
              <a:defRPr lang="en-US" sz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  <a:endParaRPr lang="en-US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0" y="1200001"/>
            <a:ext cx="9144000" cy="464561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chemeClr val="accent2"/>
                </a:solidFill>
              </a:defRPr>
            </a:lvl1pPr>
            <a:lvl2pPr marL="389626" indent="0">
              <a:buNone/>
              <a:defRPr sz="1000"/>
            </a:lvl2pPr>
            <a:lvl3pPr marL="779252" indent="0">
              <a:buNone/>
              <a:defRPr sz="900"/>
            </a:lvl3pPr>
            <a:lvl4pPr marL="1168878" indent="0">
              <a:buNone/>
              <a:defRPr sz="800"/>
            </a:lvl4pPr>
            <a:lvl5pPr marL="1558503" indent="0">
              <a:buNone/>
              <a:defRPr sz="800"/>
            </a:lvl5pPr>
            <a:lvl6pPr marL="1948129" indent="0">
              <a:buNone/>
              <a:defRPr sz="800"/>
            </a:lvl6pPr>
            <a:lvl7pPr marL="2337755" indent="0">
              <a:buNone/>
              <a:defRPr sz="800"/>
            </a:lvl7pPr>
            <a:lvl8pPr marL="2727381" indent="0">
              <a:buNone/>
              <a:defRPr sz="800"/>
            </a:lvl8pPr>
            <a:lvl9pPr marL="3117007" indent="0">
              <a:buNone/>
              <a:defRPr sz="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898108" y="5460198"/>
            <a:ext cx="1238561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1" name="Rectangle 17"/>
          <p:cNvSpPr>
            <a:spLocks noGrp="1" noChangeArrowheads="1"/>
          </p:cNvSpPr>
          <p:nvPr>
            <p:ph type="dt" sz="half" idx="10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7038CF5-8BC0-4E79-9901-AEF987351C00}" type="datetime1">
              <a:rPr lang="sv-SE" smtClean="0"/>
              <a:pPr>
                <a:defRPr/>
              </a:pPr>
              <a:t>2016-07-03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990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166154" y="1200000"/>
            <a:ext cx="4320000" cy="3861000"/>
          </a:xfrm>
        </p:spPr>
        <p:txBody>
          <a:bodyPr lIns="61358" rIns="30679"/>
          <a:lstStyle>
            <a:lvl1pPr>
              <a:defRPr sz="1700" baseline="0"/>
            </a:lvl1pPr>
            <a:lvl2pPr>
              <a:defRPr sz="1500"/>
            </a:lvl2pPr>
            <a:lvl3pPr>
              <a:defRPr sz="1400"/>
            </a:lvl3pPr>
            <a:lvl4pPr>
              <a:defRPr sz="1200" baseline="0"/>
            </a:lvl4pPr>
            <a:lvl5pPr marL="1151291" indent="-162344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4652308" y="1200000"/>
            <a:ext cx="4320000" cy="3861000"/>
          </a:xfrm>
        </p:spPr>
        <p:txBody>
          <a:bodyPr lIns="61358" rIns="30679"/>
          <a:lstStyle>
            <a:lvl1pPr>
              <a:defRPr sz="1700"/>
            </a:lvl1pPr>
            <a:lvl2pPr>
              <a:defRPr sz="1500"/>
            </a:lvl2pPr>
            <a:lvl3pPr>
              <a:defRPr sz="1400"/>
            </a:lvl3pPr>
            <a:lvl4pPr>
              <a:defRPr sz="1200" baseline="0"/>
            </a:lvl4pPr>
            <a:lvl5pPr marL="1151291" indent="-162344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898108" y="5460198"/>
            <a:ext cx="1238561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Rectangle 19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3" name="Rectangle 17"/>
          <p:cNvSpPr>
            <a:spLocks noGrp="1" noChangeArrowheads="1"/>
          </p:cNvSpPr>
          <p:nvPr>
            <p:ph type="dt" sz="half" idx="11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957380B-0C36-4099-A87C-58A4C3054CF0}" type="datetime1">
              <a:rPr lang="sv-SE" smtClean="0"/>
              <a:pPr>
                <a:defRPr/>
              </a:pPr>
              <a:t>2016-07-03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188970" y="1200000"/>
            <a:ext cx="4308297" cy="533136"/>
          </a:xfrm>
        </p:spPr>
        <p:txBody>
          <a:bodyPr lIns="30679" rIns="30679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000" b="1" baseline="0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188970" y="1744156"/>
            <a:ext cx="4308297" cy="3292740"/>
          </a:xfrm>
        </p:spPr>
        <p:txBody>
          <a:bodyPr lIns="61358" rIns="30679"/>
          <a:lstStyle>
            <a:lvl1pPr>
              <a:defRPr sz="1700" baseline="0"/>
            </a:lvl1pPr>
            <a:lvl2pPr>
              <a:defRPr sz="1500"/>
            </a:lvl2pPr>
            <a:lvl3pPr>
              <a:defRPr sz="1400"/>
            </a:lvl3pPr>
            <a:lvl4pPr>
              <a:defRPr sz="1200" baseline="0"/>
            </a:lvl4pPr>
            <a:lvl5pPr marL="1151291" indent="-162344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08260" y="1200000"/>
            <a:ext cx="4261470" cy="533136"/>
          </a:xfrm>
        </p:spPr>
        <p:txBody>
          <a:bodyPr lIns="30679" rIns="30679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4708260" y="1744156"/>
            <a:ext cx="4261470" cy="3292740"/>
          </a:xfrm>
        </p:spPr>
        <p:txBody>
          <a:bodyPr lIns="61358" rIns="30679"/>
          <a:lstStyle>
            <a:lvl1pPr>
              <a:defRPr sz="1700"/>
            </a:lvl1pPr>
            <a:lvl2pPr>
              <a:defRPr sz="1500"/>
            </a:lvl2pPr>
            <a:lvl3pPr>
              <a:defRPr sz="1400"/>
            </a:lvl3pPr>
            <a:lvl4pPr>
              <a:defRPr sz="1200" baseline="0"/>
            </a:lvl4pPr>
            <a:lvl5pPr marL="1151291" indent="-162344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3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7898108" y="5460198"/>
            <a:ext cx="1238561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4" name="Rectangle 19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5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3047A469-C500-4942-B49B-8A9E513CB9E1}" type="datetime1">
              <a:rPr lang="sv-SE" smtClean="0"/>
              <a:pPr>
                <a:defRPr/>
              </a:pPr>
              <a:t>2016-07-03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990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More information</a:t>
            </a:r>
            <a:endParaRPr lang="en-US" noProof="0" dirty="0"/>
          </a:p>
        </p:txBody>
      </p:sp>
      <p:pic>
        <p:nvPicPr>
          <p:cNvPr id="7" name="Picture 12" descr="OK_Capgemini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3689" y="5318126"/>
            <a:ext cx="1439008" cy="2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6"/>
          <p:cNvSpPr>
            <a:spLocks noChangeArrowheads="1"/>
          </p:cNvSpPr>
          <p:nvPr userDrawn="1"/>
        </p:nvSpPr>
        <p:spPr bwMode="auto">
          <a:xfrm>
            <a:off x="0" y="5238752"/>
            <a:ext cx="9145108" cy="14552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12" name="Freeform 23"/>
          <p:cNvSpPr>
            <a:spLocks/>
          </p:cNvSpPr>
          <p:nvPr/>
        </p:nvSpPr>
        <p:spPr bwMode="auto">
          <a:xfrm>
            <a:off x="0" y="1"/>
            <a:ext cx="3191608" cy="102922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7925" tIns="38963" rIns="77925" bIns="38963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21" name="Rectangle 11"/>
          <p:cNvSpPr>
            <a:spLocks noChangeArrowheads="1"/>
          </p:cNvSpPr>
          <p:nvPr userDrawn="1"/>
        </p:nvSpPr>
        <p:spPr bwMode="auto">
          <a:xfrm>
            <a:off x="7719892" y="5254625"/>
            <a:ext cx="1431443" cy="21718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0679" tIns="38963" rIns="61358" bIns="38963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900" noProof="0" dirty="0" smtClean="0">
                <a:solidFill>
                  <a:schemeClr val="tx1"/>
                </a:solidFill>
              </a:rPr>
              <a:t>| Sector, Alliance, Offering</a:t>
            </a:r>
            <a:endParaRPr lang="en-US" altLang="en-US" sz="900" noProof="0" dirty="0">
              <a:solidFill>
                <a:schemeClr val="tx1"/>
              </a:solidFill>
            </a:endParaRPr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034362" y="5460199"/>
            <a:ext cx="1102306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4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A424D5F-FE0A-4D22-BF07-71196FAC20A9}" type="datetime1">
              <a:rPr lang="sv-SE" smtClean="0"/>
              <a:pPr>
                <a:defRPr/>
              </a:pPr>
              <a:t>2016-07-03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0" y="0"/>
            <a:ext cx="9144000" cy="9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358" tIns="214754" rIns="61358" bIns="3067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pic>
        <p:nvPicPr>
          <p:cNvPr id="21" name="Picture 12" descr="OK_Capgemini"/>
          <p:cNvPicPr>
            <a:picLocks noChangeAspect="1" noChangeArrowheads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96357" y="5318126"/>
            <a:ext cx="1439008" cy="2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898108" y="5460198"/>
            <a:ext cx="1238561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24" name="Rectangle 26"/>
          <p:cNvSpPr>
            <a:spLocks noChangeArrowheads="1"/>
          </p:cNvSpPr>
          <p:nvPr/>
        </p:nvSpPr>
        <p:spPr bwMode="auto">
          <a:xfrm>
            <a:off x="-7332" y="5238752"/>
            <a:ext cx="9145108" cy="14552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25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 lIns="77925" tIns="38963" rIns="77925" bIns="38963"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11A5B96-1896-4C52-8023-396ED1508D09}" type="datetime1">
              <a:rPr lang="sv-SE" smtClean="0"/>
              <a:pPr>
                <a:defRPr/>
              </a:pPr>
              <a:t>2016-07-03</a:t>
            </a:fld>
            <a:endParaRPr lang="en-US" dirty="0"/>
          </a:p>
        </p:txBody>
      </p:sp>
      <p:grpSp>
        <p:nvGrpSpPr>
          <p:cNvPr id="26" name="Groupe 25"/>
          <p:cNvGrpSpPr/>
          <p:nvPr/>
        </p:nvGrpSpPr>
        <p:grpSpPr>
          <a:xfrm>
            <a:off x="-7332" y="1"/>
            <a:ext cx="3191608" cy="1029229"/>
            <a:chOff x="0" y="0"/>
            <a:chExt cx="3457575" cy="1235075"/>
          </a:xfrm>
        </p:grpSpPr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0" y="0"/>
              <a:ext cx="3457575" cy="1235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 eaLnBrk="0" hangingPunct="0">
                <a:lnSpc>
                  <a:spcPct val="85000"/>
                </a:lnSpc>
                <a:defRPr/>
              </a:pPr>
              <a:endParaRPr lang="en-US" noProof="0" dirty="0"/>
            </a:p>
          </p:txBody>
        </p:sp>
        <p:pic>
          <p:nvPicPr>
            <p:cNvPr id="28" name="Image 27" descr="CBE_Label_pptCorner.png"/>
            <p:cNvPicPr>
              <a:picLocks noChangeAspect="1"/>
            </p:cNvPicPr>
            <p:nvPr userDrawn="1"/>
          </p:nvPicPr>
          <p:blipFill>
            <a:blip r:embed="rId12" cstate="screen"/>
            <a:stretch>
              <a:fillRect/>
            </a:stretch>
          </p:blipFill>
          <p:spPr>
            <a:xfrm>
              <a:off x="160304" y="119554"/>
              <a:ext cx="524166" cy="522000"/>
            </a:xfrm>
            <a:prstGeom prst="rect">
              <a:avLst/>
            </a:prstGeom>
          </p:spPr>
        </p:pic>
      </p:grpSp>
      <p:sp>
        <p:nvSpPr>
          <p:cNvPr id="29" name="Espace réservé du texte 28"/>
          <p:cNvSpPr>
            <a:spLocks noGrp="1"/>
          </p:cNvSpPr>
          <p:nvPr>
            <p:ph type="body" idx="1"/>
          </p:nvPr>
        </p:nvSpPr>
        <p:spPr>
          <a:xfrm>
            <a:off x="0" y="1200000"/>
            <a:ext cx="9144000" cy="39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70" r:id="rId7"/>
    <p:sldLayoutId id="2147483668" r:id="rId8"/>
    <p:sldLayoutId id="2147483649" r:id="rId9"/>
  </p:sldLayoutIdLst>
  <p:hf hdr="0" ftr="0" dt="0"/>
  <p:txStyles>
    <p:titleStyle>
      <a:lvl1pPr marL="608790" indent="-608790" algn="ctr" defTabSz="779252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2600" b="1" kern="1200" noProof="0" dirty="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9987" indent="-229987" algn="l" defTabSz="608790" rtl="0" eaLnBrk="1" fontAlgn="base" latinLnBrk="0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lang="fr-FR" sz="20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9975" indent="-142052" algn="l" defTabSz="608790" rtl="0" eaLnBrk="1" fontAlgn="base" latinLnBrk="0" hangingPunct="1">
        <a:spcBef>
          <a:spcPct val="20000"/>
        </a:spcBef>
        <a:spcAft>
          <a:spcPct val="0"/>
        </a:spcAft>
        <a:buClr>
          <a:schemeClr val="accent2"/>
        </a:buClr>
        <a:buFont typeface="Arial" pitchFamily="34" charset="0"/>
        <a:buChar char="•"/>
        <a:defRPr lang="fr-FR" sz="17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11496" indent="-151521" algn="l" defTabSz="608790" rtl="0" eaLnBrk="1" fontAlgn="base" latinLnBrk="0" hangingPunct="1">
        <a:spcBef>
          <a:spcPct val="20000"/>
        </a:spcBef>
        <a:spcAft>
          <a:spcPct val="0"/>
        </a:spcAft>
        <a:buClr>
          <a:schemeClr val="accent1"/>
        </a:buClr>
        <a:buFont typeface="Courier New" pitchFamily="49" charset="0"/>
        <a:buChar char="o"/>
        <a:defRPr lang="fr-FR" sz="15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41484" indent="-150169" algn="l" defTabSz="608790" rtl="0" eaLnBrk="1" fontAlgn="base" latinLnBrk="0" hangingPunct="1">
        <a:spcBef>
          <a:spcPct val="20000"/>
        </a:spcBef>
        <a:spcAft>
          <a:spcPct val="0"/>
        </a:spcAft>
        <a:buClr>
          <a:schemeClr val="accent3"/>
        </a:buClr>
        <a:buFont typeface="Arial" pitchFamily="34" charset="0"/>
        <a:buChar char="–"/>
        <a:defRPr lang="fr-FR" sz="14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71471" indent="-150169" algn="l" defTabSz="608790" rtl="0" eaLnBrk="1" fontAlgn="base" latinLnBrk="0" hangingPunct="1">
        <a:spcBef>
          <a:spcPct val="20000"/>
        </a:spcBef>
        <a:spcAft>
          <a:spcPct val="0"/>
        </a:spcAft>
        <a:buFont typeface="Arial" pitchFamily="34" charset="0"/>
        <a:buChar char="»"/>
        <a:defRPr lang="en-US" sz="12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866"/>
            <a:ext cx="8229600" cy="952500"/>
          </a:xfrm>
          <a:prstGeom prst="rect">
            <a:avLst/>
          </a:prstGeom>
        </p:spPr>
        <p:txBody>
          <a:bodyPr vert="horz" lIns="77925" tIns="38963" rIns="77925" bIns="38963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33501"/>
            <a:ext cx="8229600" cy="3771636"/>
          </a:xfrm>
          <a:prstGeom prst="rect">
            <a:avLst/>
          </a:prstGeom>
        </p:spPr>
        <p:txBody>
          <a:bodyPr vert="horz" lIns="77925" tIns="38963" rIns="77925" bIns="38963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BA6B0B-1AF6-46C1-864C-BE69C438FB6C}" type="datetime1">
              <a:rPr lang="sv-SE" smtClean="0"/>
              <a:pPr/>
              <a:t>2016-07-03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</p:sldLayoutIdLst>
  <p:hf hdr="0" ftr="0" dt="0"/>
  <p:txStyles>
    <p:titleStyle>
      <a:lvl1pPr algn="ctr" defTabSz="779252" rtl="0" eaLnBrk="1" latinLnBrk="0" hangingPunct="1">
        <a:spcBef>
          <a:spcPct val="0"/>
        </a:spcBef>
        <a:buNone/>
        <a:defRPr sz="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219" indent="-292219" algn="l" defTabSz="779252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33142" indent="-243516" algn="l" defTabSz="779252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74065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690" indent="-194813" algn="l" defTabSz="779252" rtl="0" eaLnBrk="1" latinLnBrk="0" hangingPunct="1">
        <a:spcBef>
          <a:spcPct val="20000"/>
        </a:spcBef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316" indent="-194813" algn="l" defTabSz="779252" rtl="0" eaLnBrk="1" latinLnBrk="0" hangingPunct="1">
        <a:spcBef>
          <a:spcPct val="20000"/>
        </a:spcBef>
        <a:buFont typeface="Arial" pitchFamily="34" charset="0"/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7" r:id="rId2"/>
    <p:sldLayoutId id="2147483678" r:id="rId3"/>
    <p:sldLayoutId id="2147483680" r:id="rId4"/>
    <p:sldLayoutId id="2147483681" r:id="rId5"/>
  </p:sldLayoutIdLst>
  <p:hf hdr="0" ftr="0" dt="0"/>
  <p:txStyles>
    <p:titleStyle>
      <a:lvl1pPr algn="ctr" defTabSz="779252" rtl="0" eaLnBrk="1" latinLnBrk="0" hangingPunct="1">
        <a:spcBef>
          <a:spcPct val="0"/>
        </a:spcBef>
        <a:buNone/>
        <a:defRPr sz="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219" indent="-292219" algn="l" defTabSz="779252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33142" indent="-243516" algn="l" defTabSz="779252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74065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690" indent="-194813" algn="l" defTabSz="779252" rtl="0" eaLnBrk="1" latinLnBrk="0" hangingPunct="1">
        <a:spcBef>
          <a:spcPct val="20000"/>
        </a:spcBef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316" indent="-194813" algn="l" defTabSz="779252" rtl="0" eaLnBrk="1" latinLnBrk="0" hangingPunct="1">
        <a:spcBef>
          <a:spcPct val="20000"/>
        </a:spcBef>
        <a:buFont typeface="Arial" pitchFamily="34" charset="0"/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5" descr="D:\Users\vedasari\Desktop\logo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93204"/>
            <a:ext cx="8820150" cy="7143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z="1400" smtClean="0">
                <a:solidFill>
                  <a:schemeClr val="tx1"/>
                </a:solidFill>
              </a:rPr>
              <a:pPr/>
              <a:t>1</a:t>
            </a:fld>
            <a:endParaRPr lang="sv-SE" sz="1400" dirty="0">
              <a:solidFill>
                <a:schemeClr val="tx1"/>
              </a:solidFill>
            </a:endParaRPr>
          </a:p>
        </p:txBody>
      </p:sp>
      <p:sp>
        <p:nvSpPr>
          <p:cNvPr id="13" name="Title 5"/>
          <p:cNvSpPr txBox="1">
            <a:spLocks/>
          </p:cNvSpPr>
          <p:nvPr/>
        </p:nvSpPr>
        <p:spPr>
          <a:xfrm>
            <a:off x="1259632" y="2085635"/>
            <a:ext cx="6156176" cy="1368152"/>
          </a:xfrm>
          <a:prstGeom prst="rect">
            <a:avLst/>
          </a:prstGeom>
        </p:spPr>
        <p:txBody>
          <a:bodyPr vert="horz" lIns="77925" tIns="38963" rIns="77925" bIns="38963" rtlCol="0" anchor="ctr">
            <a:norm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marL="0" marR="0" lvl="0" indent="0" algn="ctr" defTabSz="77925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700" b="1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  <a:latin typeface="Cambria Math" pitchFamily="18" charset="0"/>
                <a:ea typeface="Cambria Math" pitchFamily="18" charset="0"/>
                <a:cs typeface="+mj-cs"/>
              </a:rPr>
              <a:t>     Assisted Service Module</a:t>
            </a:r>
            <a:endParaRPr kumimoji="0" lang="en-US" sz="3700" b="1" i="0" u="none" strike="noStrike" kern="1200" normalizeH="0" baseline="0" noProof="0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uLnTx/>
              <a:uFillTx/>
              <a:latin typeface="Cambria Math" pitchFamily="18" charset="0"/>
              <a:ea typeface="Cambria Math" pitchFamily="18" charset="0"/>
              <a:cs typeface="+mj-cs"/>
            </a:endParaRPr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5537956" y="3655293"/>
            <a:ext cx="3096344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232693" marR="0" lvl="0" indent="-232693" algn="r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sv-SE" sz="1600" smtClean="0">
                <a:latin typeface="Arial" pitchFamily="34" charset="0"/>
                <a:ea typeface="Cambria Math" pitchFamily="18" charset="0"/>
                <a:cs typeface="Arial" pitchFamily="34" charset="0"/>
              </a:rPr>
              <a:t>Presented </a:t>
            </a:r>
            <a:r>
              <a:rPr lang="sv-SE" sz="1600" smtClean="0">
                <a:latin typeface="Arial" pitchFamily="34" charset="0"/>
                <a:ea typeface="Cambria Math" pitchFamily="18" charset="0"/>
                <a:cs typeface="Arial" pitchFamily="34" charset="0"/>
              </a:rPr>
              <a:t>by</a:t>
            </a:r>
            <a:endParaRPr lang="sv-SE" sz="1600" dirty="0" smtClean="0">
              <a:latin typeface="Arial" pitchFamily="34" charset="0"/>
              <a:ea typeface="Cambria Math" pitchFamily="18" charset="0"/>
              <a:cs typeface="Arial" pitchFamily="34" charset="0"/>
            </a:endParaRPr>
          </a:p>
          <a:p>
            <a:pPr marL="232693" marR="0" lvl="0" indent="-232693" algn="r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lang="sv-SE" sz="1600" noProof="0" dirty="0" smtClean="0">
              <a:latin typeface="Arial" pitchFamily="34" charset="0"/>
              <a:ea typeface="Cambria Math" pitchFamily="18" charset="0"/>
              <a:cs typeface="Arial" pitchFamily="34" charset="0"/>
            </a:endParaRPr>
          </a:p>
          <a:p>
            <a:pPr marL="232693" marR="0" lvl="0" indent="-232693" algn="r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sv-SE" sz="1600" noProof="0" dirty="0" smtClean="0">
                <a:latin typeface="Arial" pitchFamily="34" charset="0"/>
                <a:ea typeface="Cambria Math" pitchFamily="18" charset="0"/>
                <a:cs typeface="Arial" pitchFamily="34" charset="0"/>
              </a:rPr>
              <a:t>Vamshi Vushakola(082085)</a:t>
            </a:r>
          </a:p>
          <a:p>
            <a:pPr marL="232693" marR="0" lvl="0" indent="-232693" algn="r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lang="sv-SE" sz="1600" noProof="0" dirty="0" smtClean="0">
              <a:latin typeface="Arial" pitchFamily="34" charset="0"/>
              <a:ea typeface="Cambria Math" pitchFamily="18" charset="0"/>
              <a:cs typeface="Arial" pitchFamily="34" charset="0"/>
            </a:endParaRPr>
          </a:p>
          <a:p>
            <a:pPr marL="232693" lvl="0" indent="-232693" algn="r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kumimoji="0" lang="sv-SE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Cambria Math" pitchFamily="18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0" presetClass="emph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 override="childStyle">
                                        <p:cTn id="12" dur="500" autoRev="1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3" dur="500" autoRev="1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4" dur="500" autoRev="1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ont.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10</a:t>
            </a:fld>
            <a:endParaRPr lang="en-US" noProof="0" dirty="0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40633" y="1345332"/>
            <a:ext cx="6715743" cy="3483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512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ont.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11</a:t>
            </a:fld>
            <a:endParaRPr lang="en-US" noProof="0" dirty="0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27584" y="1201316"/>
            <a:ext cx="7243142" cy="389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330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M DEMO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10936" y="1200150"/>
            <a:ext cx="6522127" cy="3900488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12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83375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13</a:t>
            </a:fld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-13155" y="990000"/>
            <a:ext cx="9144000" cy="4243764"/>
          </a:xfrm>
        </p:spPr>
        <p:txBody>
          <a:bodyPr/>
          <a:lstStyle/>
          <a:p>
            <a:pPr marL="0" indent="0">
              <a:buNone/>
            </a:pPr>
            <a:endParaRPr lang="en-US" sz="1600" dirty="0">
              <a:cs typeface="Calibri" pitchFamily="34" charset="0"/>
            </a:endParaRPr>
          </a:p>
          <a:p>
            <a:pPr marL="514350" indent="-285750"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itchFamily="34" charset="0"/>
                <a:cs typeface="Calibri" pitchFamily="34" charset="0"/>
              </a:rPr>
              <a:t>Extends self-service support</a:t>
            </a:r>
          </a:p>
          <a:p>
            <a:pPr marL="514350" indent="-285750"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itchFamily="34" charset="0"/>
                <a:cs typeface="Calibri" pitchFamily="34" charset="0"/>
              </a:rPr>
              <a:t>Create a new customer account on the customer's behalf</a:t>
            </a:r>
          </a:p>
          <a:p>
            <a:pPr marL="514350" indent="-285750"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itchFamily="34" charset="0"/>
                <a:cs typeface="Calibri" pitchFamily="34" charset="0"/>
              </a:rPr>
              <a:t>Reduces costs </a:t>
            </a:r>
          </a:p>
          <a:p>
            <a:pPr marL="514350" indent="-285750"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itchFamily="34" charset="0"/>
                <a:cs typeface="Calibri" pitchFamily="34" charset="0"/>
              </a:rPr>
              <a:t>Increased customer satisfaction</a:t>
            </a:r>
          </a:p>
          <a:p>
            <a:pPr marL="514350" indent="-285750"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itchFamily="34" charset="0"/>
                <a:cs typeface="Calibri" pitchFamily="34" charset="0"/>
              </a:rPr>
              <a:t>Makes easy flow of complex high-value product &amp; purchase flow, sales &amp; service </a:t>
            </a:r>
          </a:p>
        </p:txBody>
      </p:sp>
    </p:spTree>
    <p:extLst>
      <p:ext uri="{BB962C8B-B14F-4D97-AF65-F5344CB8AC3E}">
        <p14:creationId xmlns:p14="http://schemas.microsoft.com/office/powerpoint/2010/main" val="2377422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 txBox="1">
            <a:spLocks/>
          </p:cNvSpPr>
          <p:nvPr/>
        </p:nvSpPr>
        <p:spPr>
          <a:xfrm>
            <a:off x="395536" y="1489348"/>
            <a:ext cx="3600400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742950" lvl="2" indent="-231775" algn="ctr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r>
              <a:rPr lang="en-US" sz="4800" dirty="0" smtClean="0">
                <a:latin typeface="Gabriola" pitchFamily="82" charset="0"/>
              </a:rPr>
              <a:t>Thank You</a:t>
            </a:r>
          </a:p>
          <a:p>
            <a:pPr marL="457200" lvl="2" indent="-231775" algn="ctr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ü"/>
            </a:pPr>
            <a:endParaRPr lang="en-US" sz="1300" dirty="0" smtClean="0"/>
          </a:p>
          <a:p>
            <a:pPr marL="1239627" lvl="2" indent="-231775" algn="ctr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Courier New" pitchFamily="49" charset="0"/>
              <a:buChar char="o"/>
            </a:pPr>
            <a:endParaRPr lang="en-US" sz="13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232693" indent="-232693" algn="ctr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lang="en-US" sz="1000" dirty="0" smtClean="0">
              <a:latin typeface="Calibri" pitchFamily="34" charset="0"/>
              <a:cs typeface="Calibri" pitchFamily="34" charset="0"/>
            </a:endParaRPr>
          </a:p>
          <a:p>
            <a:pPr marL="850001" lvl="1" indent="-231775" algn="ctr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Ø"/>
            </a:pPr>
            <a:endParaRPr lang="en-US" sz="1400" dirty="0" smtClean="0">
              <a:latin typeface="Calibri" pitchFamily="34" charset="0"/>
              <a:cs typeface="Calibri" pitchFamily="34" charset="0"/>
            </a:endParaRPr>
          </a:p>
          <a:p>
            <a:pPr marL="232693" indent="-232693" algn="ctr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lang="en-US" sz="1600" dirty="0" smtClean="0">
              <a:latin typeface="Calibri" pitchFamily="34" charset="0"/>
              <a:cs typeface="Calibri" pitchFamily="34" charset="0"/>
            </a:endParaRPr>
          </a:p>
          <a:p>
            <a:pPr marL="232693" lvl="0" indent="-232693" algn="ctr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en-US" sz="1000" b="1" dirty="0" smtClean="0">
              <a:latin typeface="Calibri" pitchFamily="34" charset="0"/>
              <a:cs typeface="Calibri" pitchFamily="34" charset="0"/>
            </a:endParaRPr>
          </a:p>
          <a:p>
            <a:pPr marL="460375" lvl="0" indent="-231775" algn="ctr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</a:pPr>
            <a:endParaRPr kumimoji="0" lang="sv-SE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>
    <p:cover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mbria Math" pitchFamily="18" charset="0"/>
                <a:ea typeface="Cambria Math" pitchFamily="18" charset="0"/>
              </a:rPr>
              <a:t>Objective</a:t>
            </a:r>
            <a:endParaRPr lang="sv-SE" dirty="0">
              <a:latin typeface="Cambria Math" pitchFamily="18" charset="0"/>
              <a:ea typeface="Cambria Math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90000"/>
              </a:lnSpc>
              <a:buNone/>
            </a:pPr>
            <a:endParaRPr lang="sv-SE" dirty="0" smtClean="0"/>
          </a:p>
          <a:p>
            <a:pPr>
              <a:lnSpc>
                <a:spcPct val="90000"/>
              </a:lnSpc>
            </a:pPr>
            <a:endParaRPr lang="sv-SE" dirty="0" smtClean="0"/>
          </a:p>
        </p:txBody>
      </p:sp>
      <p:sp>
        <p:nvSpPr>
          <p:cNvPr id="49162" name="AutoShape 10" descr="data:image/jpeg;base64,/9j/4AAQSkZJRgABAQAAAQABAAD/2wCEAAkGBhQSEBUUEhQVFRQVFRQUFBQUFBQVFxUUFRQVFBQUFBUXHCYeFxkjGhUUHy8gIycpLCwsFR4xNTAqNSYrLCkBCQoKDgwOGg8PGiwkHyQpLCwsKiwsLCwsLCwpLCwpLCwpLCwsLCksLCwpLCwpLCwsKSwsLCwsLCksLCwpLCkpLP/AABEIAOIA3wMBIgACEQEDEQH/xAAcAAABBQEBAQAAAAAAAAAAAAAFAQIDBAYABwj/xABCEAABAgQEAwUHAgQEBAcAAAABAAIDBBEhBRIxQVFhcQYTIoGRMkKhscHR8FJyFCNi4UOCkqIVssLxBxYlM1Njg//EABoBAAIDAQEAAAAAAAAAAAAAAAIDAAEEBQb/xAAxEQACAgEEAQEHAwIHAAAAAAAAAQIRAwQSITFBMgUiUXGBsfATYZEj0RQVJDOhwfH/2gAMAwEAAhEDEQA/APHCmp5CSi2GUc1OckaE5ygHkiKaE8pAES7DslY1OomsbU8VPEhU+246pmSFKxTY1oTwEjQngJQtsjiKu56tRQqsQXUGQGZk9qYApGhUGxwCeGpAFIAoLbEDE4Q05oTwFYtyG5FC8XVqirxAoSL5GtCeAkAT2hQtsUBOAXAJ4CgtsbROaF1E9oVgtnBqkASAJwFlQtsC0ThC3snZE8M46bAKG/cRNCVwUz4YoCK3rY/NMIUB3WQkLgE8hcAqDsfBBrQGlVZEFtKAmvG1PuoIViiMKgGlK8NadTotuP8AqQpjIQ3xaXZRAUgCc+FQpQ1ZKMLZBFCrxmXV2M1RTEO6gcJFQNUjWpwYntYqGOQjWp4anBqeGqxTkIAnAJwanBqgtsbRQRBdWsqrxAqLg+RjQpAEjQngKFtnAJ4C4BTshfnNQXKRFlSgJ7h8k2qsGxwSgJoUgCoBgkC6fDZU3/Op4JCE6Eaaqza3wTsHi0FNyRty4BQxYRGxHCqOQZYPYA3XUHh1/LKpHkyQW2q01JJ35cuaZttGWGdbqBBC4BPc1K1qUa7Oa1EJJ3w5X8lTa1WZY0KdiltkHgy7Jq+iebhe8RSvMmvO/koA1FDL1aRqeJNLjhuqjYKLLGpWDr4fpZL8PkqRWJszDv5BXokuumZf2f2hL2mGOVWgYIaeIauNlk4Sym0N5UUwxPDVa/hlxl1KA/URWDU4NU3dJMiErcR5VXiNVzKq8RqoKD5IQFIxldE6FCzEC1+OnMlEIMrkAJ13HCkQAg+RCFuhjZBDg0pXfL6Or9krhT1B9QprD2ja4rrdrq/I081WfFJVLkS+Rj3bJoCcQnNYjLujmtUrWKxMymQim4+O6mw6VzupsBUqCHkW3cZpdRKWrgFDpBDDp4tNCfCdR9RzRyYgCI0Ft63aOP7ll2oth+JFtakUoLU8q23on43fBg1GJ3vh2V5+TOtgWg5hSlfIcFQa1aeNBDxmF6+r0GmZPKajTelaN5XUnDyi8Ge1tZWa1Tw4aWFCV6BAQJWFkyUXsLZUC1SLfZPmpDK/rcefBPw/wuB20PRaKdw/NDBGrefunl1p6pzfCs1ZMv8Ai9Ha9UPt/wCfYysSXSzMtZnNo+aIzUvQJs1D8EL9p+Diro4ak1dgpsBPEBW2wlKJdXQLyMo9wkMuiP8ADru4VUVvkCny6hdLo1/DJjpNA0hkckgI6EqxgEmgF6E+gJPwBWjh4O55o0E8TQ0BoTc7WafRWY2HiFRrdCb1vcnuXU61+KzTmo8G3FufLBUKQDWkC9WxNae00Bmvm7/UoY0drSaitSSW1oTmDXfNoU85iAaKNu4+NrgRRpc7MQedghWRzySbm5J+ZSlHzIa2iJ7yTU8a+uqkgwS4gDeytyEmHPAN9fkpsPg/zQOZHnQqPIvAieVK68IbGwmjag1I1FPkoZKXzPA9eg1ViBGLYtTuaO8ypHHuYzqcDTz0+PyVpi05VTJ8ShAszD3XUP56KLD50Q2u42p9VJh/jhxGb+0Ov4Ah4CNc8AxhxtIGyxJIHsgEU4k6E89/JQOkRSram9OttQtExtfasCCPCAKEimam5281NLyYqC3RunFzjxpxPwCm9GyKn4MmZYjZKIK23/AGlpqNPep4i6t7/DzVKa7Plm1W1ND01qFSyxsOsnwBmFx6G/ncDl4a6FGY2Dd4zOy4OoFq9AeG/wCVrQsLC03Z+CWOrqDQFtCS7W7QBS1Ba2t7LQsy+v3M0tPLdur+PBixhxaeWx2PQ7q3BkXHQL0Od7KseO8haE3GoqbEDQC+p222VvBOzEIhz4t2MtQH2ncKjbohlmhFWg8eizZZ7H39zzxmHP4LS4LDL2FjthlNf0mwPCvXgtbAwuViHKIbmcC1xPwdVS/+We5cHN8TeI4cwlR1cZo6mL2bl0eT3umqZ5zMYa8EtOoNFNEwgmHD5Zx/uW9xDs9VwcBrY9R/ZXJPs+A1uYaV+NE16hJWYP8ALXuaPPIHZp3BWj2YfSuV1OOU/NeizMdkJngAHlfz3QOTxN8R+hIrRvEnaiwz9ou+EdbB7Ci43J0YmLhJGyHTEIhe0SWDQ6ue5rXZiSARUAV2BWW7V9lmV7yGKNcaUHuu+xWzHqE3TOXn9nOMG4nmb3lT4dJvjOIaQAASS6tBY0HU0oEel+yrorv0tBoXHysOLrg0RmYZDgtyNytbQEAnSg7yhcbm73AVuS4BMyZkuI9mHFpH6p9fcHRIbYLAAQGtdkLtMwzQiC7ifE8dLLO4pM960Nhjg4uuHBxJc5vSuW/9PNFJrvYpaxwLGOpUUNXguBBodKUAFOCJYZggHfMpo1zRzdmGX/lXMy54Yv3kbYt5HtjwjGQOzBczMSK3yt3dTVS4ThQJdXTLl83GgRqchEQ4bh7rnjzq1w+apzjyxxy+y8siD509fksTzzydst4Y9FDD4LYYiOPtAAAcyb/JJMwQyZDhoXNd5O1+qmxKHSISNDRw/wAwqmTwzQ4btwCw+WibCTbv4i5Y14BeKQMsV45k+Rv9VLiAzMhv4ih6j8KmxlubI/8AU2h/c3VMYKyp/pf8/wDutkZcITt5I8HiUijmCPr9FBMwsr3DgT6bJsN+Ug8CD6K9jUPxhw0c0H0/AnJ8krkstYpYRIKUNTg1KOlGIUlsTHva2vwIr9yisqGu0I0pT4mvU/BZprVZl6g2SnjQ9GiPZxr7t8J6WPCw0424p0LCnQzRwp8j0K7Cp54sbjmtPKzbXijh6q7aHxgmR4bF0ttcHQ2uaUsOXDgEV/hRQ/pcRXkRbT82FFHAw0Vqw/HQHmiEJoFgQeIQuV8M044bHaBbZHIdESlYh023UxZQfKqihuqTwHzSfSzVPI8i5JHvFDQaIRjGPCE0kqxHmf5rQOOnLVZbtk2ja76BUnvdMmxY47mvFgaZ7SxI0TKLAnzIW6wPDgILXnW4B4DS3xuvNMIlv5gcV7HKQqQmDg1vyVxhFT48A5Mkq95jWuowcrKrChCI17XCx+Y3HNW3QiDyTDL0vuLgDj9U9ulYl9V8QRiUgWMOVuUAtNRpqdOd0DncGLs5Irka0t5ZqOd1tU+S175gOBDhUE5T0O/oQhs1ALYl9KkHmL0/2vI8llyZtypMxZcCfyM7Gh+MkivdubEb+w0qB6tPqo4zy0tePeDHu5uYaH4g+qLvggkV1LSw9RUD/p9ENjw/AB+kn0d/cfFYpCNlAnEZUARWD3XB7emnyLUAnW1Yzlmb9R81pZt1wf6cp8rfKiz86ygpzqpB8i5A+YNWt4gZfTRQ5v5bm8w4fVLFiAbqtEmRst+PHJ9IRKh8MhzTDda9WngUseF3cAtJqXOB+X2Q2PGKgdEJ1JPUrbHE/Jmb5JSrEedzMY2nsjXj+WVIJwKftKs0YTwE0J4Wc6cR7Qrku1VGq9KqmPgHMPho5KtQiQCOSsNAzXBFqejObCAbvUk86qpJYiWtLomwJrwAFSfQIpDhVFDpwQnGpMPiw4DfeIfF5Qwa5f8AMR6DmkNW7OnHLCOPa1yHYc24wGvIyuc0HLqRUVp1ukixe7h31pU9d12TM6p9lt/shWJzXeEtakt2BCFuvq/7DMNi54xdwBP0+qzvbCbrFDNgK+ZWowiTyNcT0+p+iwOPzWaaedq0HlZMwrlhamSbS+X9wx2ckw4helgLzjsnH/mMHFw+a9ITMfkRq2m1RyheCpk14sjkjKmCo0Amv5pp9FJMMzsru3Xog/bLtSJOCS2jomw2bzd9l5Y7/wASZxrsxjEVvlAaG9KUSYaSUra6F5dRjxvbLtnps3MtBuRrW17+SFR8RBBABrzsq8pirZqAyOwZc1WvaNBEbQuy/wBJzAjqq8XVPx6PG1btmHNkkpUVpqaceSAzxJ1KNzQ3QedC1RxQh6UZW7QHiBQuU0VRFMFPkqxVEpoyhKJCX2KEqaClqoCaUKRqjCcFlOrElar0oVQarks5Ux0WafDyj38e2DDDiAXO0roBtbis1h8VG+7ZFYGvsRo7W1a3SZp1wdLSyhu9/oJyeNF9M1KdFPLyoa5zjd8Q1J4NHstHICizEaHkmYUMGrB4zQ6mhLR8AjEvNk5zwas0ro3SWOTewlxnG2QmEfhQXB8YZEfl3NVku00+7Nc63CZ2NnaTbK6E0+BWpaW8bkcqXtOOPOsMem0v5PT8WmhDgk6ABeQPm8z3DmSD+bI9237REuLAbC3XmspKxLG9fzRFixOMHJ+SsuoUs8cUX1dmx7IRD3grsW/NesrxjsfM1eaGtF622crTyPqkw9TNc47kq/cuIfjOJiDDJrc6fdW+8XnPb/GqBwrcpi95qKM05LFB5JdIxHbXtAYziAbA+qyclKumIoYDQavcfdaNT9hxIUmJx7lPwqPkBaNYlCf2i4HrQ+QW+tq2o4TyyneWXZ6zhsEMk4TGijQXho6BtSeJOpKrRlekGf8Ap8E8HOB/zNB+iHxiggNlLck38EVox8KDziLRDYoPOORMAFxQoHKaI5QOKgtlaMbqEqSKVEUaM/kVKE0JVCGnSgptUtVlOpFjwVZgPVOqlhuUoNM0chER+TBOlT0usnIRlo5vH3QoUMQ/ZLQSRufer51SpujoabH+q3zQzFXFkwwkEeEG9tCQjNMsM82/RZ+ejujBkVxrWrehaT90Qn50CGzmAPh/ZKkrofCax7ueEY7tlBo6H+0ITIRcj2u4EFEu1ziXMPFv1QeEurhX9NI8Zr5NahyXxX/RZ7RRWxJg006VCFzMIsJ5cDUHorLXX+arxH3O4P5UIYrtGqUklHI3y+f5CnY+cDY1/eXs+Hxw6Gw8qV6W+y+eIUQw3AjY1XoOBdv2taASOYOiwZ8TjLcjuaLVxmnCTp9npk3MUA4k08hcn5eq8h7dxqzJvaiIY52+ea5Dc2qNm8AsLjOLufdxqU3T45RlvfwMvtDVY8uP9CDt39AJiEWrj1V/CoVXZttugQuIa5RS5v5LQyEPK0LVBbpWczUS2YtqPTcDmS/DnA+49tPl9Sh0dyTsnOD+HiMJ1c0f6vD9VBGiIEqlJfuMhK8UH+1fwRxX2KCzUREJyNQILMRUdFORBEKgc5Oe9QvcpQuUiJ6jKe9RlEAjgnBIAnBQjNHmXZlFmS5llo3qRKCnByhDlJDaToKqw076LsrGoVqcHn2FphxW1YbtIuWk605FZ2Vwg0Bc4XFcoPioN/gtLh7GMd4R7NK1vmHGvpbmsuXLCq7Ohp8WVPd0XRKAwojGXDHAt1HuitvVD8ZBbAZXWpP2WjwiEAIhpq868AP7oP2ny2bRBjlc6NGohWBvzVf8mP7W/wCEf6AguajCeSPdsNIPJn1Wemn0hrq4X7h5DXL/AFDXy+yKDHkiqkhuqoZaJZdnpVHYLXgSadZVJeHWIFLFdVOgupdV2xytRLkw6gQaN4zRTTM5Wyk7P5HTIMSuQWtu4ghg9aeiqbvoPDj2K2VYUoe+NdNuiMsdQIvKYMHwS0e2CSw/qItYAEmw40HEoQQQaHUWIV41SE58inLguymIljC0e8Wn/SarRzz6kPHsxAHjz9oeTg4eSyEM1Wmwh/fwDBBAewl0Op1rqzkDQeYHFDk933gtO228fx6+YLm5mpQyLEU04SCa2INCDqCNQVSc5GDufk4lMJXEptVRBHJtErk0IRiHBOTQUqogZzqTuHWqKVFRXgd02DCOcMPhdUC+yLzbmvacmsK3VtLnyKRJ0bcUVLlkULDR3We5vptTSvqr7Jkthsy0y3DhQUJrevlRUJefNW5vZAykf0nXz+yss8JdDcbG7XcD7ruhFiss7fZ08W1dF95s1zfduP2k1Ho6o9FegRhVrrCwqCQPCbHXhcdKINFmO5YM1K5jRtjVpFx0rRDI+ImKRUBrQKBorQXPHU3QRwufyGZdVHEq7Z61MRg1mYaG/WuhWOxyeLqUWohMrKwif/ihk/6AgMxKZ3CnNTDUXbHazdkglHyZftP/AIX7As5isTw0Wv7Vy127ZW/mqxE++rl08crxo8rqsbWqd/nBXhGgUjW1C5kGqfEjBjUYDdvjsrxaBUI03WwTJqcLzQJstLOe5sOG0ue40a1oqSUDkbceKlb7EoTZupWglpYGXytF2kkncnc+lPQLnYA+XbRw8R9o/Qck7D4lHEHcfEIsbT5EamTSpeDQYPGMSHmNzUB9iS46ivGtK5RQWuo8Zkat71o0s+hbl2pQNAFRvStuhQuQi93Fp7rrEVIHInoVoHRKC9DWzfCCP/zZv1NB1Wlco5U7jO10zKviJJbEjCeHNNx8eSlxKXDHkDTblxaeYQyOEqfVG7FTpo0GIzYmAYjfbHtjiNA7qND5HihLlVlZgscHD02PIq9GhAjO32T8Du0/miTF7eB2RNvcQEpKpCUgKYLo5xSLnJEIQ5LVNCVQhoosTvoPef4kOz+beP19VFh87keDto4cQdVHgUT+bl2c0gjyr+dVSDqGiW42HDJVMMzULI8gaatPEHRNmcUGVopVzaiv9O1fih8bEHEAV9kUHIfVVMyBYr7NE9VSqJaMYuNTcqxLuQ9rkVkG5QCbk2aOqa1SM0G5S5PaZeBSCxvBjB6NAVaDItZU/gV8soKeSqTFSDRcOz3MIql+xi+3A8Nl55Eh3XpuIyJfWo03qVlsWwMBtRYrp4MkVFRPK+0dNklleVIykzM5As/MThe6myL4jDQQihWiTEaWMavyWpaXJIa0VJ9AOJWiw2VbBuD493b9BwCH4Y3Kyu7rnpsFc75NhFdszaicpPaug+3tA4jLFAit/q9odH6+tVDBw1kV2aE6hF+7I8Rpe1LEdEEMZdDmi0ggkEGoIsQeIVSxruPDAhKXU+UEsWky3y+SsyU/nZ4iAWgNNB4iAKD4Dl5q7Bjibgk/4rB4wNxs8cuW3ogEB5hRL04GunI0V453w+xefCkvd67QQnGZ2eI5QPZtUmm9dT8kBfD1B1WjmGuDjtxe7f8Aby6XQ2fgudRwBIApU0JIvc8E2Ssz4MlcAVworEjN5DRwq06j5Ecwo4rVASs8onTXIRmpcC7TVp0PL78lXon4fND2X+yfgdnDmFJFli036g7EcQgUvDAaorlclcEgamlHBOTmwSpWyxVAOSQRM/DYD3LSHEULnbDkh1UwFOBVIFirkiUKyiWFQXKO9kIPfT0FrtA7MRyYC+nwWdLlouwsWk7C55x6scgy+h/I0aXnNBPq19z1qdxIAc+CGsxLM62nNDcUJJND5108kmH6VNqa0JuuPsSjZ7NZvf2roLTwFPJZifg9FoJ+L4aA/L0QCbi0/CixWJ1lNmD7Qy1DVZSM2/VazHpipPxWWiDxjqF0l1yeaxtbpUE2up8kveKAOXZ1pQjaSl6bnURekL1ZagFMIxJ0KKHN1G2xG4PI6Ixj8Brg2ND9l49DwPMXHksm2JRG8MxIUMN//tv/ANrtnD6/2QSXO5FNcbfyyaVigt8RNRag34X2CePHY2aOFKDma6/NVHt7uJRwsDQjSoUrnuiWAsNhYDn/AHKdGVo58oU7/EUpuEGu8JqONKKm8IvHiMy5aNc79QBAHpr1Qt4QyRrxSbXJX3RnDZoPb3b9CfC79J49OIQl6SHEpdZ5RND5DrsOoSDqNh8xxC5koEP/AOLZqNJFdBm2G1+WqOujVaMw8QsTx5qlJ9M5+WMolYQgnhq7MlCIytsDBSAJGNUrWKJm6TGUS0Uohpe7V2BuIKIn2cfSagn/AOxvxNPqqDmKaRiZYjHcHNPoVUnaaGY57ZqXwaPUopAdR2qWFCaDUV6X+SfNvGwNfn/ZUmRTm3PyHQLk9o9o6jIkn6N1rXgFnp+NqQdtPpdFMTiW4cxevpZZudiVNiLb8eqfiiYNbl8IzWLOJcaoJEhXHVaKeliLnigkwKErWcTFJp0xuZNL1WMVN7xN3o0LGWTETTFVcuSFVvCUCcxVLAjqipIcRVuLlBUaGVmO8GQ+0B4TxA93qNk/vnZQzYbDfrxQWDGoQRqLgo3Cj1Ae2x3psUUZUznZobeSWGzu/E5xadmj2j14Dqqs7HL75QBtQfXdIIbnutUnf+5VoTAhNy5s5/T7rfuU9O0Jra77f5+cgh4VeZjhrSSrM1MauNBvaw9FnJ6czm2g0+6VPg6mnxPI+eiSHNEurW5WzkMQzMDXm4Hhdw5HksbhsvfMfJExHok7b5D1UFJ7UaKDOhxIrcWI/NlYEVYSYxAiISLFGcOx5rhR/hPHY/ZSzBm0EordEKQ1YauXKzHMeFxXLlTFEMVdL6hcuQjV0erDX0+iY4XC5cuae7AmKnx+SDxR4nLly1w9Jx9T6/qD8Q08/sszMj2ly5Nj0c6XrBjkgXLkRrHJCuXKyDSmrlygSJ4OqMYZqehXLlZi1PpYRimkva1XXp1VCUaDEaDcV0XLlpXgw4/RL5sm7SN/lEbXttosElXIc/g63sr/AGfqHQLDoE2IkXIS12Bomp6rmrlyznT8H//Z"/>
          <p:cNvSpPr>
            <a:spLocks noChangeAspect="1" noChangeArrowheads="1"/>
          </p:cNvSpPr>
          <p:nvPr/>
        </p:nvSpPr>
        <p:spPr bwMode="auto">
          <a:xfrm>
            <a:off x="143609" y="-857250"/>
            <a:ext cx="1960685" cy="1793876"/>
          </a:xfrm>
          <a:prstGeom prst="rect">
            <a:avLst/>
          </a:prstGeom>
          <a:noFill/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49164" name="AutoShape 12" descr="data:image/jpeg;base64,/9j/4AAQSkZJRgABAQAAAQABAAD/2wCEAAkGBhQSEBUUEhQVFRQVFRQUFBQUFBQVFxUUFRQVFBQUFBUXHCYeFxkjGhUUHy8gIycpLCwsFR4xNTAqNSYrLCkBCQoKDgwOGg8PGiwkHyQpLCwsKiwsLCwsLCwpLCwpLCwpLCwsLCksLCwpLCwpLCwsKSwsLCwsLCksLCwpLCkpLP/AABEIAOIA3wMBIgACEQEDEQH/xAAcAAABBQEBAQAAAAAAAAAAAAAFAQIDBAYABwj/xABCEAABAgQEAwUHAgQEBAcAAAABAAIDBBEhBRIxQVFhcQYTIoGRMkKhscHR8FJyFCNi4UOCkqIVssLxBxYlM1Njg//EABoBAAIDAQEAAAAAAAAAAAAAAAIDAAEEBQb/xAAxEQACAgEEAQEHAwIHAAAAAAAAAQIRAwQSITFBMgUiUXGBsfATYZEj0RQVJDOhwfH/2gAMAwEAAhEDEQA/APHCmp5CSi2GUc1OckaE5ygHkiKaE8pAES7DslY1OomsbU8VPEhU+246pmSFKxTY1oTwEjQngJQtsjiKu56tRQqsQXUGQGZk9qYApGhUGxwCeGpAFIAoLbEDE4Q05oTwFYtyG5FC8XVqirxAoSL5GtCeAkAT2hQtsUBOAXAJ4CgtsbROaF1E9oVgtnBqkASAJwFlQtsC0ThC3snZE8M46bAKG/cRNCVwUz4YoCK3rY/NMIUB3WQkLgE8hcAqDsfBBrQGlVZEFtKAmvG1PuoIViiMKgGlK8NadTotuP8AqQpjIQ3xaXZRAUgCc+FQpQ1ZKMLZBFCrxmXV2M1RTEO6gcJFQNUjWpwYntYqGOQjWp4anBqeGqxTkIAnAJwanBqgtsbRQRBdWsqrxAqLg+RjQpAEjQngKFtnAJ4C4BTshfnNQXKRFlSgJ7h8k2qsGxwSgJoUgCoBgkC6fDZU3/Op4JCE6Eaaqza3wTsHi0FNyRty4BQxYRGxHCqOQZYPYA3XUHh1/LKpHkyQW2q01JJ35cuaZttGWGdbqBBC4BPc1K1qUa7Oa1EJJ3w5X8lTa1WZY0KdiltkHgy7Jq+iebhe8RSvMmvO/koA1FDL1aRqeJNLjhuqjYKLLGpWDr4fpZL8PkqRWJszDv5BXokuumZf2f2hL2mGOVWgYIaeIauNlk4Sym0N5UUwxPDVa/hlxl1KA/URWDU4NU3dJMiErcR5VXiNVzKq8RqoKD5IQFIxldE6FCzEC1+OnMlEIMrkAJ13HCkQAg+RCFuhjZBDg0pXfL6Or9krhT1B9QprD2ja4rrdrq/I081WfFJVLkS+Rj3bJoCcQnNYjLujmtUrWKxMymQim4+O6mw6VzupsBUqCHkW3cZpdRKWrgFDpBDDp4tNCfCdR9RzRyYgCI0Ft63aOP7ll2oth+JFtakUoLU8q23on43fBg1GJ3vh2V5+TOtgWg5hSlfIcFQa1aeNBDxmF6+r0GmZPKajTelaN5XUnDyi8Ge1tZWa1Tw4aWFCV6BAQJWFkyUXsLZUC1SLfZPmpDK/rcefBPw/wuB20PRaKdw/NDBGrefunl1p6pzfCs1ZMv8Ai9Ha9UPt/wCfYysSXSzMtZnNo+aIzUvQJs1D8EL9p+Diro4ak1dgpsBPEBW2wlKJdXQLyMo9wkMuiP8ADru4VUVvkCny6hdLo1/DJjpNA0hkckgI6EqxgEmgF6E+gJPwBWjh4O55o0E8TQ0BoTc7WafRWY2HiFRrdCb1vcnuXU61+KzTmo8G3FufLBUKQDWkC9WxNae00Bmvm7/UoY0drSaitSSW1oTmDXfNoU85iAaKNu4+NrgRRpc7MQedghWRzySbm5J+ZSlHzIa2iJ7yTU8a+uqkgwS4gDeytyEmHPAN9fkpsPg/zQOZHnQqPIvAieVK68IbGwmjag1I1FPkoZKXzPA9eg1ViBGLYtTuaO8ypHHuYzqcDTz0+PyVpi05VTJ8ShAszD3XUP56KLD50Q2u42p9VJh/jhxGb+0Ov4Ah4CNc8AxhxtIGyxJIHsgEU4k6E89/JQOkRSram9OttQtExtfasCCPCAKEimam5281NLyYqC3RunFzjxpxPwCm9GyKn4MmZYjZKIK23/AGlpqNPep4i6t7/DzVKa7Plm1W1ND01qFSyxsOsnwBmFx6G/ncDl4a6FGY2Dd4zOy4OoFq9AeG/wCVrQsLC03Z+CWOrqDQFtCS7W7QBS1Ba2t7LQsy+v3M0tPLdur+PBixhxaeWx2PQ7q3BkXHQL0Od7KseO8haE3GoqbEDQC+p222VvBOzEIhz4t2MtQH2ncKjbohlmhFWg8eizZZ7H39zzxmHP4LS4LDL2FjthlNf0mwPCvXgtbAwuViHKIbmcC1xPwdVS/+We5cHN8TeI4cwlR1cZo6mL2bl0eT3umqZ5zMYa8EtOoNFNEwgmHD5Zx/uW9xDs9VwcBrY9R/ZXJPs+A1uYaV+NE16hJWYP8ALXuaPPIHZp3BWj2YfSuV1OOU/NeizMdkJngAHlfz3QOTxN8R+hIrRvEnaiwz9ou+EdbB7Ci43J0YmLhJGyHTEIhe0SWDQ6ue5rXZiSARUAV2BWW7V9lmV7yGKNcaUHuu+xWzHqE3TOXn9nOMG4nmb3lT4dJvjOIaQAASS6tBY0HU0oEel+yrorv0tBoXHysOLrg0RmYZDgtyNytbQEAnSg7yhcbm73AVuS4BMyZkuI9mHFpH6p9fcHRIbYLAAQGtdkLtMwzQiC7ifE8dLLO4pM960Nhjg4uuHBxJc5vSuW/9PNFJrvYpaxwLGOpUUNXguBBodKUAFOCJYZggHfMpo1zRzdmGX/lXMy54Yv3kbYt5HtjwjGQOzBczMSK3yt3dTVS4ThQJdXTLl83GgRqchEQ4bh7rnjzq1w+apzjyxxy+y8siD509fksTzzydst4Y9FDD4LYYiOPtAAAcyb/JJMwQyZDhoXNd5O1+qmxKHSISNDRw/wAwqmTwzQ4btwCw+WibCTbv4i5Y14BeKQMsV45k+Rv9VLiAzMhv4ih6j8KmxlubI/8AU2h/c3VMYKyp/pf8/wDutkZcITt5I8HiUijmCPr9FBMwsr3DgT6bJsN+Ug8CD6K9jUPxhw0c0H0/AnJ8krkstYpYRIKUNTg1KOlGIUlsTHva2vwIr9yisqGu0I0pT4mvU/BZprVZl6g2SnjQ9GiPZxr7t8J6WPCw0424p0LCnQzRwp8j0K7Cp54sbjmtPKzbXijh6q7aHxgmR4bF0ttcHQ2uaUsOXDgEV/hRQ/pcRXkRbT82FFHAw0Vqw/HQHmiEJoFgQeIQuV8M044bHaBbZHIdESlYh023UxZQfKqihuqTwHzSfSzVPI8i5JHvFDQaIRjGPCE0kqxHmf5rQOOnLVZbtk2ja76BUnvdMmxY47mvFgaZ7SxI0TKLAnzIW6wPDgILXnW4B4DS3xuvNMIlv5gcV7HKQqQmDg1vyVxhFT48A5Mkq95jWuowcrKrChCI17XCx+Y3HNW3QiDyTDL0vuLgDj9U9ulYl9V8QRiUgWMOVuUAtNRpqdOd0DncGLs5Irka0t5ZqOd1tU+S175gOBDhUE5T0O/oQhs1ALYl9KkHmL0/2vI8llyZtypMxZcCfyM7Gh+MkivdubEb+w0qB6tPqo4zy0tePeDHu5uYaH4g+qLvggkV1LSw9RUD/p9ENjw/AB+kn0d/cfFYpCNlAnEZUARWD3XB7emnyLUAnW1Yzlmb9R81pZt1wf6cp8rfKiz86ygpzqpB8i5A+YNWt4gZfTRQ5v5bm8w4fVLFiAbqtEmRst+PHJ9IRKh8MhzTDda9WngUseF3cAtJqXOB+X2Q2PGKgdEJ1JPUrbHE/Jmb5JSrEedzMY2nsjXj+WVIJwKftKs0YTwE0J4Wc6cR7Qrku1VGq9KqmPgHMPho5KtQiQCOSsNAzXBFqejObCAbvUk86qpJYiWtLomwJrwAFSfQIpDhVFDpwQnGpMPiw4DfeIfF5Qwa5f8AMR6DmkNW7OnHLCOPa1yHYc24wGvIyuc0HLqRUVp1ukixe7h31pU9d12TM6p9lt/shWJzXeEtakt2BCFuvq/7DMNi54xdwBP0+qzvbCbrFDNgK+ZWowiTyNcT0+p+iwOPzWaaedq0HlZMwrlhamSbS+X9wx2ckw4helgLzjsnH/mMHFw+a9ITMfkRq2m1RyheCpk14sjkjKmCo0Amv5pp9FJMMzsru3Xog/bLtSJOCS2jomw2bzd9l5Y7/wASZxrsxjEVvlAaG9KUSYaSUra6F5dRjxvbLtnps3MtBuRrW17+SFR8RBBABrzsq8pirZqAyOwZc1WvaNBEbQuy/wBJzAjqq8XVPx6PG1btmHNkkpUVpqaceSAzxJ1KNzQ3QedC1RxQh6UZW7QHiBQuU0VRFMFPkqxVEpoyhKJCX2KEqaClqoCaUKRqjCcFlOrElar0oVQarks5Ux0WafDyj38e2DDDiAXO0roBtbis1h8VG+7ZFYGvsRo7W1a3SZp1wdLSyhu9/oJyeNF9M1KdFPLyoa5zjd8Q1J4NHstHICizEaHkmYUMGrB4zQ6mhLR8AjEvNk5zwas0ro3SWOTewlxnG2QmEfhQXB8YZEfl3NVku00+7Nc63CZ2NnaTbK6E0+BWpaW8bkcqXtOOPOsMem0v5PT8WmhDgk6ABeQPm8z3DmSD+bI9237REuLAbC3XmspKxLG9fzRFixOMHJ+SsuoUs8cUX1dmx7IRD3grsW/NesrxjsfM1eaGtF622crTyPqkw9TNc47kq/cuIfjOJiDDJrc6fdW+8XnPb/GqBwrcpi95qKM05LFB5JdIxHbXtAYziAbA+qyclKumIoYDQavcfdaNT9hxIUmJx7lPwqPkBaNYlCf2i4HrQ+QW+tq2o4TyyneWXZ6zhsEMk4TGijQXho6BtSeJOpKrRlekGf8Ap8E8HOB/zNB+iHxiggNlLck38EVox8KDziLRDYoPOORMAFxQoHKaI5QOKgtlaMbqEqSKVEUaM/kVKE0JVCGnSgptUtVlOpFjwVZgPVOqlhuUoNM0chER+TBOlT0usnIRlo5vH3QoUMQ/ZLQSRufer51SpujoabH+q3zQzFXFkwwkEeEG9tCQjNMsM82/RZ+ejujBkVxrWrehaT90Qn50CGzmAPh/ZKkrofCax7ueEY7tlBo6H+0ITIRcj2u4EFEu1ziXMPFv1QeEurhX9NI8Zr5NahyXxX/RZ7RRWxJg006VCFzMIsJ5cDUHorLXX+arxH3O4P5UIYrtGqUklHI3y+f5CnY+cDY1/eXs+Hxw6Gw8qV6W+y+eIUQw3AjY1XoOBdv2taASOYOiwZ8TjLcjuaLVxmnCTp9npk3MUA4k08hcn5eq8h7dxqzJvaiIY52+ea5Dc2qNm8AsLjOLufdxqU3T45RlvfwMvtDVY8uP9CDt39AJiEWrj1V/CoVXZttugQuIa5RS5v5LQyEPK0LVBbpWczUS2YtqPTcDmS/DnA+49tPl9Sh0dyTsnOD+HiMJ1c0f6vD9VBGiIEqlJfuMhK8UH+1fwRxX2KCzUREJyNQILMRUdFORBEKgc5Oe9QvcpQuUiJ6jKe9RlEAjgnBIAnBQjNHmXZlFmS5llo3qRKCnByhDlJDaToKqw076LsrGoVqcHn2FphxW1YbtIuWk605FZ2Vwg0Bc4XFcoPioN/gtLh7GMd4R7NK1vmHGvpbmsuXLCq7Ohp8WVPd0XRKAwojGXDHAt1HuitvVD8ZBbAZXWpP2WjwiEAIhpq868AP7oP2ny2bRBjlc6NGohWBvzVf8mP7W/wCEf6AguajCeSPdsNIPJn1Wemn0hrq4X7h5DXL/AFDXy+yKDHkiqkhuqoZaJZdnpVHYLXgSadZVJeHWIFLFdVOgupdV2xytRLkw6gQaN4zRTTM5Wyk7P5HTIMSuQWtu4ghg9aeiqbvoPDj2K2VYUoe+NdNuiMsdQIvKYMHwS0e2CSw/qItYAEmw40HEoQQQaHUWIV41SE58inLguymIljC0e8Wn/SarRzz6kPHsxAHjz9oeTg4eSyEM1Wmwh/fwDBBAewl0Op1rqzkDQeYHFDk933gtO228fx6+YLm5mpQyLEU04SCa2INCDqCNQVSc5GDufk4lMJXEptVRBHJtErk0IRiHBOTQUqogZzqTuHWqKVFRXgd02DCOcMPhdUC+yLzbmvacmsK3VtLnyKRJ0bcUVLlkULDR3We5vptTSvqr7Jkthsy0y3DhQUJrevlRUJefNW5vZAykf0nXz+yss8JdDcbG7XcD7ruhFiss7fZ08W1dF95s1zfduP2k1Ho6o9FegRhVrrCwqCQPCbHXhcdKINFmO5YM1K5jRtjVpFx0rRDI+ImKRUBrQKBorQXPHU3QRwufyGZdVHEq7Z61MRg1mYaG/WuhWOxyeLqUWohMrKwif/ihk/6AgMxKZ3CnNTDUXbHazdkglHyZftP/AIX7As5isTw0Wv7Vy127ZW/mqxE++rl08crxo8rqsbWqd/nBXhGgUjW1C5kGqfEjBjUYDdvjsrxaBUI03WwTJqcLzQJstLOe5sOG0ue40a1oqSUDkbceKlb7EoTZupWglpYGXytF2kkncnc+lPQLnYA+XbRw8R9o/Qck7D4lHEHcfEIsbT5EamTSpeDQYPGMSHmNzUB9iS46ivGtK5RQWuo8Zkat71o0s+hbl2pQNAFRvStuhQuQi93Fp7rrEVIHInoVoHRKC9DWzfCCP/zZv1NB1Wlco5U7jO10zKviJJbEjCeHNNx8eSlxKXDHkDTblxaeYQyOEqfVG7FTpo0GIzYmAYjfbHtjiNA7qND5HihLlVlZgscHD02PIq9GhAjO32T8Du0/miTF7eB2RNvcQEpKpCUgKYLo5xSLnJEIQ5LVNCVQhoosTvoPef4kOz+beP19VFh87keDto4cQdVHgUT+bl2c0gjyr+dVSDqGiW42HDJVMMzULI8gaatPEHRNmcUGVopVzaiv9O1fih8bEHEAV9kUHIfVVMyBYr7NE9VSqJaMYuNTcqxLuQ9rkVkG5QCbk2aOqa1SM0G5S5PaZeBSCxvBjB6NAVaDItZU/gV8soKeSqTFSDRcOz3MIql+xi+3A8Nl55Eh3XpuIyJfWo03qVlsWwMBtRYrp4MkVFRPK+0dNklleVIykzM5As/MThe6myL4jDQQihWiTEaWMavyWpaXJIa0VJ9AOJWiw2VbBuD493b9BwCH4Y3Kyu7rnpsFc75NhFdszaicpPaug+3tA4jLFAit/q9odH6+tVDBw1kV2aE6hF+7I8Rpe1LEdEEMZdDmi0ggkEGoIsQeIVSxruPDAhKXU+UEsWky3y+SsyU/nZ4iAWgNNB4iAKD4Dl5q7Bjibgk/4rB4wNxs8cuW3ogEB5hRL04GunI0V453w+xefCkvd67QQnGZ2eI5QPZtUmm9dT8kBfD1B1WjmGuDjtxe7f8Aby6XQ2fgudRwBIApU0JIvc8E2Ssz4MlcAVworEjN5DRwq06j5Ecwo4rVASs8onTXIRmpcC7TVp0PL78lXon4fND2X+yfgdnDmFJFli036g7EcQgUvDAaorlclcEgamlHBOTmwSpWyxVAOSQRM/DYD3LSHEULnbDkh1UwFOBVIFirkiUKyiWFQXKO9kIPfT0FrtA7MRyYC+nwWdLlouwsWk7C55x6scgy+h/I0aXnNBPq19z1qdxIAc+CGsxLM62nNDcUJJND5108kmH6VNqa0JuuPsSjZ7NZvf2roLTwFPJZifg9FoJ+L4aA/L0QCbi0/CixWJ1lNmD7Qy1DVZSM2/VazHpipPxWWiDxjqF0l1yeaxtbpUE2up8kveKAOXZ1pQjaSl6bnURekL1ZagFMIxJ0KKHN1G2xG4PI6Ixj8Brg2ND9l49DwPMXHksm2JRG8MxIUMN//tv/ANrtnD6/2QSXO5FNcbfyyaVigt8RNRag34X2CePHY2aOFKDma6/NVHt7uJRwsDQjSoUrnuiWAsNhYDn/AHKdGVo58oU7/EUpuEGu8JqONKKm8IvHiMy5aNc79QBAHpr1Qt4QyRrxSbXJX3RnDZoPb3b9CfC79J49OIQl6SHEpdZ5RND5DrsOoSDqNh8xxC5koEP/AOLZqNJFdBm2G1+WqOujVaMw8QsTx5qlJ9M5+WMolYQgnhq7MlCIytsDBSAJGNUrWKJm6TGUS0Uohpe7V2BuIKIn2cfSagn/AOxvxNPqqDmKaRiZYjHcHNPoVUnaaGY57ZqXwaPUopAdR2qWFCaDUV6X+SfNvGwNfn/ZUmRTm3PyHQLk9o9o6jIkn6N1rXgFnp+NqQdtPpdFMTiW4cxevpZZudiVNiLb8eqfiiYNbl8IzWLOJcaoJEhXHVaKeliLnigkwKErWcTFJp0xuZNL1WMVN7xN3o0LGWTETTFVcuSFVvCUCcxVLAjqipIcRVuLlBUaGVmO8GQ+0B4TxA93qNk/vnZQzYbDfrxQWDGoQRqLgo3Cj1Ae2x3psUUZUznZobeSWGzu/E5xadmj2j14Dqqs7HL75QBtQfXdIIbnutUnf+5VoTAhNy5s5/T7rfuU9O0Jra77f5+cgh4VeZjhrSSrM1MauNBvaw9FnJ6czm2g0+6VPg6mnxPI+eiSHNEurW5WzkMQzMDXm4Hhdw5HksbhsvfMfJExHok7b5D1UFJ7UaKDOhxIrcWI/NlYEVYSYxAiISLFGcOx5rhR/hPHY/ZSzBm0EordEKQ1YauXKzHMeFxXLlTFEMVdL6hcuQjV0erDX0+iY4XC5cuae7AmKnx+SDxR4nLly1w9Jx9T6/qD8Q08/sszMj2ly5Nj0c6XrBjkgXLkRrHJCuXKyDSmrlygSJ4OqMYZqehXLlZi1PpYRimkva1XXp1VCUaDEaDcV0XLlpXgw4/RL5sm7SN/lEbXttosElXIc/g63sr/AGfqHQLDoE2IkXIS12Bomp6rmrlyznT8H//Z"/>
          <p:cNvSpPr>
            <a:spLocks noChangeAspect="1" noChangeArrowheads="1"/>
          </p:cNvSpPr>
          <p:nvPr/>
        </p:nvSpPr>
        <p:spPr bwMode="auto">
          <a:xfrm>
            <a:off x="143609" y="-857250"/>
            <a:ext cx="1960685" cy="1793876"/>
          </a:xfrm>
          <a:prstGeom prst="rect">
            <a:avLst/>
          </a:prstGeom>
          <a:noFill/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179512" y="985292"/>
            <a:ext cx="8640960" cy="4104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232693" marR="0" lvl="0" indent="-232693" algn="l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kumimoji="0" lang="sv-SE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32693" indent="-232693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r>
              <a:rPr lang="en-US" sz="2600" b="1" dirty="0" smtClean="0">
                <a:solidFill>
                  <a:schemeClr val="tx2"/>
                </a:solidFill>
                <a:latin typeface="Cambria Math" pitchFamily="18" charset="0"/>
                <a:ea typeface="Cambria Math" pitchFamily="18" charset="0"/>
                <a:cs typeface="+mj-cs"/>
              </a:rPr>
              <a:t>Assisted Service Module (ASM)</a:t>
            </a:r>
          </a:p>
          <a:p>
            <a:pPr marL="232693" lvl="0" indent="-232693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lang="en-US" sz="2000" b="1" dirty="0" smtClean="0">
              <a:latin typeface="Calibri" pitchFamily="34" charset="0"/>
              <a:cs typeface="Calibri" pitchFamily="34" charset="0"/>
            </a:endParaRPr>
          </a:p>
          <a:p>
            <a:pPr marL="232693" lvl="0" indent="-232693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en-US" sz="1000" b="1" dirty="0" smtClean="0">
              <a:latin typeface="Calibri" pitchFamily="34" charset="0"/>
              <a:cs typeface="Calibri" pitchFamily="34" charset="0"/>
            </a:endParaRPr>
          </a:p>
          <a:p>
            <a:pPr marL="460375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r>
              <a:rPr lang="en-US" sz="1600" dirty="0">
                <a:latin typeface="Calibri" pitchFamily="34" charset="0"/>
                <a:cs typeface="Calibri" pitchFamily="34" charset="0"/>
              </a:rPr>
              <a:t>What it is?</a:t>
            </a: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endParaRPr lang="en-US" sz="1600" dirty="0">
              <a:latin typeface="Calibri" pitchFamily="34" charset="0"/>
              <a:cs typeface="Calibri" pitchFamily="34" charset="0"/>
            </a:endParaRP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r>
              <a:rPr lang="en-US" sz="1600" dirty="0">
                <a:latin typeface="Calibri" pitchFamily="34" charset="0"/>
                <a:cs typeface="Calibri" pitchFamily="34" charset="0"/>
              </a:rPr>
              <a:t>What does it do?</a:t>
            </a: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endParaRPr lang="en-US" sz="1600" dirty="0">
              <a:latin typeface="Calibri" pitchFamily="34" charset="0"/>
              <a:cs typeface="Calibri" pitchFamily="34" charset="0"/>
            </a:endParaRP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r>
              <a:rPr lang="en-US" sz="1600" dirty="0">
                <a:latin typeface="Calibri" pitchFamily="34" charset="0"/>
                <a:cs typeface="Calibri" pitchFamily="34" charset="0"/>
              </a:rPr>
              <a:t>What it is for?</a:t>
            </a: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endParaRPr lang="en-US" sz="1600" dirty="0">
              <a:latin typeface="Calibri" pitchFamily="34" charset="0"/>
              <a:cs typeface="Calibri" pitchFamily="34" charset="0"/>
            </a:endParaRP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r>
              <a:rPr lang="en-US" sz="1600" dirty="0">
                <a:latin typeface="Calibri" pitchFamily="34" charset="0"/>
                <a:cs typeface="Calibri" pitchFamily="34" charset="0"/>
              </a:rPr>
              <a:t>Why it is so cool?</a:t>
            </a: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endParaRPr kumimoji="0" lang="sv-SE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676456" y="5305772"/>
            <a:ext cx="153329" cy="184731"/>
          </a:xfrm>
        </p:spPr>
        <p:txBody>
          <a:bodyPr/>
          <a:lstStyle/>
          <a:p>
            <a:pPr>
              <a:defRPr/>
            </a:pPr>
            <a:fld id="{9D48B0A8-A3BB-4090-A486-05597CC74740}" type="slidenum">
              <a:rPr lang="en-US" sz="1400" noProof="0" smtClean="0">
                <a:latin typeface="Calibri" pitchFamily="34" charset="0"/>
                <a:cs typeface="Calibri" pitchFamily="34" charset="0"/>
              </a:rPr>
              <a:pPr>
                <a:defRPr/>
              </a:pPr>
              <a:t>2</a:t>
            </a:fld>
            <a:endParaRPr lang="en-US" sz="1400" noProof="0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90000"/>
              </a:lnSpc>
              <a:buNone/>
            </a:pPr>
            <a:endParaRPr lang="sv-SE" dirty="0" smtClean="0"/>
          </a:p>
          <a:p>
            <a:pPr>
              <a:lnSpc>
                <a:spcPct val="90000"/>
              </a:lnSpc>
            </a:pPr>
            <a:endParaRPr lang="sv-SE" dirty="0" smtClean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0" y="1200000"/>
            <a:ext cx="9144000" cy="39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pPr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sv-SE" sz="2000" dirty="0" smtClean="0"/>
              <a:t/>
            </a:r>
            <a:br>
              <a:rPr lang="sv-SE" sz="2000" dirty="0" smtClean="0"/>
            </a:br>
            <a:endParaRPr lang="sv-SE" sz="2000" dirty="0" smtClean="0"/>
          </a:p>
        </p:txBody>
      </p:sp>
      <p:sp>
        <p:nvSpPr>
          <p:cNvPr id="4" name="AutoShape 2" descr="data:image/jpeg;base64,/9j/4AAQSkZJRgABAQAAAQABAAD/2wCEAAkGBhQSEBQUExQUFBQUFBQUFBQWFBUVFBQUFRQVFRUUFRYXHCYeFxkjGRQUHy8gJCcpLCwsFR4xNTAqNSYrLSkBCQoKDgwOFA8PGikkHBwsKSkpKSksKSwsLCwpLCksKSwpLCwpLCwpLCkpKSksKSwpLCkpKSksLCksKSkpLCkpKf/AABEIALcBEwMBIgACEQEDEQH/xAAbAAABBQEBAAAAAAAAAAAAAAAAAQIDBAUGB//EAE4QAAIBAwMCBAMDBQgOCwAAAAECAwAEEQUSITFBBhMiURQyYXGBkQcjQnKSFTNSYqGy0/AWJENjc3SClLGzwcPR4SVEU1RkhJOio9Lx/8QAGQEAAwEBAQAAAAAAAAAAAAAAAAECAwQF/8QAJBEAAgICAgICAgMAAAAAAAAAAAECEQMxEiEEQRNRIkIyYXH/2gAMAwEAAhEDEQA/AKpFNIp5ppr3DzRhFJtp9JSKG7aNtPoAoGN20bafRSAbtpdtOxS0DG7aMU6koEJikxTqSmAmKWiloAKWiigApaSlzQMWlFNzQXAGTwO5PSgB+aKvaZoEs+D+9Rn9Nh6mH97Q/wA5sD2BqLV9JktQWc74R1mAwV7fnUHT9ZePoKxefHyqyvjlVlalpKUVuQOFOFNFOpiHA09TUYp4NAEgNSqagBqRTTAnU1KrVXU1KpoAnDUtRg0UgOfNNNKabmkIKKKTNIYtApM0UDHUUmaM0AOopoNGaBjqKTNFABRRRTAWikpaBBRRSUALSopJwBk+1WI7I4y3pHbj1H7B/X76deTxwoGkJjRs4ABaSTby2AvLADk4wo7kVz5PIjDpds0jjbJLTRnlyEILgjK84UHuz9PuGTTtVuoNOQuyNdzKofAXEMWXKBmblU9YIGdzZHGKg1TUmZLdLSC4ntp43lkMWYmkIJQRPIB+aQFSW5BPvjObEGntfaGI4IUt/MYbI9zeWFW4DGTJBJBAY989utcM8059M6IwSOt0aOYR7riRHdzvwi7UjUgYjXPqYDBO48kk1zfjnUN8kdqOnE8/6qn8zGf1nG7HtH9au6j4yjjHlwAXEijaWBxChHHqk5yf4qZPviuWUMXkkkIaSVtzsBgcAKqqMnCqAABk/wAtXgwuUk2uick0lS2S0tIKcK9Q5RRThSClFADhS00UtADwaeDUQp4NMCdTUimoFNTKaYiUNRTaWkBgmkNLTSakQUUmaKCgzRmkooAXNFJS0ALQuSwVQzM2cKqszEDkkKoJwPeo5JACu5tiF1V5CNwiRjgyFcjIH/PtXX3GmS299bWVhIsDSwSXE91JGk8koRtqod3G3P6K4Hq+nPNmzfH0tmsIcjlA3Udx1HcfaOopa7PWddG6O3u7A3d0IWmnNuF/NxLIyCWMsQ/qChtoII3AdeKhbwvaT+SbW7Cm4jMsMcnr8xBy23o/HcHcRg8cVEPKi/5Ip4n6OTorfvfCUsCs0wwoxh4x5i855blWQfXaeo61lfAMRlcSD3Q7j96/MPwrojmhLTM3Br0VgKKUrikxWpBNZ/k/k1Bi/n+VFGMFcFiSMk4UEDoRyT91br+CBZzusSSyEgFJHbcu36DoCD3PP487H5Pi3ky4XIyeSQAPSOnc12eqrlK8jM38kjsgvxR5pBEEvo4JF3tJBJMWJ4GxgoXGOeST7fQ1mvrDJqF+nlSSXDRxQ2qBDt8ryyTl/ljj3sGYnjjvjFaXijS1N0k7XDwhIGiKRY85wz7iAx/ewcD1dfYis+98RSMgihzDEqhB6iX2qMDLHnoP+ZrOMXJ0kU2lsW40O3trWKKad5PJhVGs0mEaTyFyzF1yCQWkPBI9K9D0qhf6hLcDbIQkQAAt4srHtHADngycduF/i1WjhA56n3PWpBXo4fGUe57OeeW+kCqAAAMAcADgAewFPFIKcK66MRRTqbThQAop1IBTsUgCilxSgUAApwFAWnqtAAoqZaaEqRVp2A4UtKBRSsDnzTTSmmmkSFFJmigYtFJS0DCloFKKYAVyMHke3vWx4ezMYYfP+Hu7XcbG4YB1kgYBXtZVYjft4xznbgjoayKGjBGCAR7EAj8DWOXEsiouEuLO6n068s7mO9KfHSG2a3uVhCxOSJjNFJGjcFRnYR1wAea446DcwDT8qVuba2vL1Y85wUu45jAce8TuuPdsVJYavPBxFNIgH6O7en7EgZR9wFdBY/lHmX9+ijlH8JCYn/A7lJ/Zrhl401rs6Flizm7PX50ttN8me4hSSLUHbyofieFuztMkJ+ZAGIJHIHSulnu4HW5aeBcwXdtarJADE7+esP5wqTj5pSce31rS0K/01nhkTbavbiWOKJ3SIATkPJtXcQwLc5HQ/hUWs+C7iWdzBJAba6ubW6mLFvMjaAx7vKK5VwwiXg4wc1ztNdM0Ml44ZZpIYLmOZozICk6NGT5XEnlzMAHC4OSG4x7VVu9CKfOkkWehI3xn7GHb7zTdShmikvEWC4SGS31GWeOWMPbwyGCXbcWlwOAJSxBTqN5B6cO0K3kW2sYraaKD4m62s9rKbiNgLJ5PXFNlUbco3R9MjIxVxyzhpkuKezrPAqBIpF3q7NuIVT228HDAYrP8UeOpFlMBikhPGAQNxBGc7gSAOvQ9utdH4JulmtRMY40mJkim8sYVpIJHiYr7KSpIH8asb8ptkkkSSqy+ZEcEcbtrH/Y2PxNS5XK2OqVI4SeYscmo6TTVaTdlHcL8zRLv2c49Sjt94qytpu+Rlf6A4f8AYbB/DNepiy4qqPRyzjLbK9KKVkIOCCCOoIwR9xoFdRmKKUUgpwFIQop4FIKcKQCilAqS3tmkOEUsfYDNW5dHlTbuQjeQB9p6A+xqW0ikmUsU4LVv9zW8wouGKnBIzjjrUlpppdwvIBzk4zjFS5IfFmxofhAyLulJUHGBxkjrk11lr4bt06Rg/rer/TVe1uiFA64GM1bR2715s8kpPZ2RhFIrT+ErYsW2kZ7BiB9oFcfrFksUzImdox165xzXfyudhI7A1wF65dyx6nrW3jyk27ZGWKS0VNtFSiOiuyzno5j4dycBTnOOlRSqVODXpS6YnJxyc1Sn8PxsSdoz7+1cy8lfRbwM4HB9jSbq7STSEHYVg39iik++K1jmUmRLG0ZQpRStjAx99IK2MxaWkpaYx1KKbS0AS2dq0qPIuFhjDmSZgSB5YO8Ig5dhg+wz79Ku3Xh6REWSIm4hZQ4YLiQKwBBKAeoYOeOf4veqmjXDD4q1HS6hmaEf+I8oq6f5S7W+1Wpg8QbQskEg3Q6N6h1CSxyxrtkQ9GUhhg88n3rzJ5skJvs6Ywi4kBCsOzD8RTrVniOYZJIT/e3ZR965wa3LV4L4AkGC48gTSuoAQMJHhkVwTzteNuvOMeqql1obxD1soycIRko4wCCG6L16H26966I5sWRfmuyHCcdF2y/KDfRcMYrhfaRNj/tJgfiDU0niXTp123FpJaHzBL5tuSuJdpTzN8O1t20kcg8Gsq00OaQ+lDj3PA/GtNfBzjIJByBgg9D9Qe1TPBi9Oiozn9HdeE7yxW3SGzljZEB2rvzJkksxYN6sliSSR3qbxXZCW2ZGHUZB7ggZB/EV4N450ZrWWPDMpYOTtJUcFemP1u1avglbq4u5I47qVPLi34ZnlQ+pUwUdsH5q4pRqVGydlHRdR8i+iG9oy2owuQCRuhkK7jx8y4zkfTmuk0nxK0nlxXkKXDn4yQPsxNJDCkxQI649Ylt5EOc5BT3zVLUrK4gkKyIj9wUJXgk8gN06dK6PR9S0+RLcSl7Oe3EyxvzGAbhWWR1fBXJLl+cYbn7U4SXbQWiLTIorqKE7pYBOwSFWMd5C5aN5MRSrgqQsbgg7SCAD1GY5fB823fC0dzGRkNEwyRkjO1jjqCOGPQ1pW/gqWM/EwSw3LC5guRHGiW8cnlxTRSHKsyCZ1myWAVSY14GeMA6Fc20lrK8YiEUdv502WbyEbUpndQyHY48uZVdTkbWLfo1ePNOGmTKClsrSwMh2srKw/RZSp/BhmkArpdDhnvbe5WZ3cpNIIGfySoeOaZNqtGd+NqqpEi5GQQSDxT0zQ9wy49sAH8Q1eji8hSi29o55YmnSMcCtDSdJedwoBC59T4JCgdfv6cfWun0bw3GpJbDE9MjoP+NaTQrEpCenknHbnrUT8laiXHD7Ze0u2SFFRFAA79z9Sfer0iqw5AOKwra5zWis/YVwyu7OpMc0CjgAYH0qg1sATtGASTj6mr8j4FU5eRxQmDJrNRWpHise1PNa8FQxonArIutChAJCZPPv3rYzRtoUmtE/6cW9vg4C8fdS10f7kJ3yT75orf5kRwOca4qvLf4FRO5qvNBu4xURX2DZlan4hw2F59z2rDnuXlOT9a3L2wQKc8YrBdgM45rvxca6RzTu+yPbiigGlJroMhRRmkopgOzRmkopoYyVCdrK210dZEbGdrqcg47jqCO4JrW/dO3njnjuI0tZbiMxPdIgMbg4wWc8pzjh+P4x4rMA9q6ay0sNHzwMYOOtcvkY4y7ezXG3pGF4l8NSRnUJFBMEsMEmVOeBOklwoA56B39juP1ransUga2t4Tm2upn2oSXEai3Zx5LEk7SyhsHI9Te/Fi10h4B/az7V7wSZeBvfA6xE+6ce6ms630uI7GtPItbmG4kkNs770eQoYWUbWyqlflKgfqivMlGjpTJob74e4kiilDNHgvFnBwVDBgD2ww5Gce4rpNN1mOXj5X9ie/0NcfaRH91nafyomZoZVilTJO21Ad7a4GAWRgVK9CoJxxVbTdZEkFxcTegIySx7F5+HnkZIsqOpBVunt0JpJtDD8tbeu0/Vm/nRU78kJ/6QuP8AFh/rY60T4fXVRArGRlG7ZPGRhUyPM3BhjqoGDggjHHIrY8KeAm0+8eXzhIksRjUbSrqQ6tzyQRhTzx9lO7Yzpb6wRwdygnGMkc+9cbd+E5AWIC7ck4Jxx9lekRxjvTZo81vDNKGiZY1I8fs7Uo+YtyPzny2ZCcdc7CMit/R769BASWQp0/Or5q/Zub1/+6uygso1Y4UAnqQAKm+G9JxWk8sJfqiI42vZzyxSKJGFvbxySgK88IKO4z+ku3rycEucZqxFbhIwpA/r0rWK8YIxiszU5kSMlmCjsSQB/LWKdKkaUQC/21Rl1AsetZ73ys5UEhgAxVlZW2nowDAEqf4Q4pA1V0RZt2EuTWyJADnPauUhnxVltQOKhopM1b3Us1S+ONZ5mzQJKBWa1vdHNbtndVy1vJWlBd1DLizp1moeeseO8pJbn2qKK6NX4oe9FYJnNFFBZnRRVIyioPN9qj+KrVGZU1W2BQ981yE1syk5GBXU3t2Sdqj76wNQlO7HWu3A2ujmyUUCtFPx/X2puK6zAKKKn+CfGdpxTtIZBQKXbUpt8daLGS2ON69+furt7OHj6Vxdmvq4rpbTUsCuPyNm+I1wgX61Q1TSIJ/nXDdnXhh9/cfQ5qOTUaqSXvNcdWbciGaGaJSkgF3BgjBz5iggqcH5lO0kZGevasu68PRSRS/AhU82GKN4flcvFcROJV3HazBBJn3OCckmt1L2o5oEc7sbW/hDv9o7/wCmocQ5HQ/kwgZIrpZJPMm+NnM3pCjcQm1gq8APH5cn+Wa17123xZXA3N6gQf0X6jqK5XQ/F8kVwLfynmZsfKo3FQCQQ5xkAZ4Y+/IrpdZvVVYi58thltjEbsFT2XOSPp9agov/ABOBUE13mudOuvIcQRPKf4WCFH1J7Cs9r0vI8U17DFIiSO1vCweYCNSzqcHAYAHgnPBqrHZ1D6pFFzK6r9CefwHNJaa2Zxm3ikdQcbm2xoevIYkkj7FJ56Vw2na3b+kpZuHaaww13hy9veSFBKqo21T6TgHPUdeRWj4lWaXWI4FSeWFILebyo7gW8MZ8+QNLKP0wAq4UdduKVhZ0N7dcxiW4RPNZkSO3XezsilnXzGB+VVJJ2pjHWuXbxcFs5722smRUjR4bm6YO8xeZIyQu8yBQGJzuxxiqelLFb67LtRvhZJbi2gb+5RXskcMlwqKOgbGzPvkdAcU/C/g6WXTZrcWMlvNNbBGup5GXzHWZGVFiOWRAuTnaOV6c0WI6K1gnnvZbLUGimdYFure4gQwvHufy2VT1HPvnOOc5wMq1lJaVdwkWORo0mA2iYLwzBenDblJHBKkjirz2EyzSI9wJb65jRJ5Yl2JZ2SE+iIEkiR2JCk85y2PRzpTaYiIqIoVUUKoHQKBgAfdVRE0ZFIWqxJFiqr1ZA/fSh6gzTlNIC/FJVmOas6Jq0rW33UikWIpqsC4qJ7YqKqvcimot6HdF0z0Vn/GCiq+Ni5oxRqpxUMV0zNVUpVm09JrscIxTo5lJt9llrfPUnP21m3duXb0jIA5Na3mAigZxhRWUZuJbimYL2DgZxUPlHGccV1C2Rxyaz9T03aMjOAORW8M1umZyhSsyYE9QrqILUMgrmAK3tOuyoAalnT6aHiaHzWihcYyfasoWhOcjH0rpVYHmoJUXNYRytGrgmY8KbTS+bzUlzHzxVbYaTlYqomM1N8ymbKNlQBMj1ZjkqktTxvUsZ1HgizRZZp3KhmxGgOM7QqEkc9zx91afj658rT5ZwsZkhUNG0i71UsyqSRkZ4PT6U/wWg8gkDkscnue3P4UeMZbV7V4bm4SFXC59S78Kyt6VOST6cdD1rF7NVo81u7ia5Fqszwzwlr8o8ztZW0sET2yxzyJFgMAWkCr3Bzn3sWunzNfzt5RlhN1q8UZiQl4riSMKGnYA/m2Uso6AE89q3da8VWN26Mtk980W7y2aPEK7tuf3zj9Feq9qkbXNQm6GC0U8+lfOl5+p9OaVDIrL8nTDTIkWRoromymllnPm+W1sFZYgAduxDkBc465JouNAs5JY2uLl9QugojKRSxR79kkkwLxRuoCrkj1Nj0r3PKP4dWTBuZprpv747CP7o1OB/LW5pdvFAMRRogPXaoXPbnHXoKdASwiVVKxRwWylmc9ZXLOSzMVTYoYkkk7mznvVK5ty/wC+yyy5/RLeWn7EQUEfrbqt3F5k1UMmapIYlpAkYxGioPZVCj7cAVHcymrcC1K8I7Yp2I56ZDUDWxrpZLUFTgc1VhtwOtMloxY7Bj2p/wACc4roDFxTFUe1AcTLTTsGtaxULVaR8HJ6VXubkfonmqUWwtIvajfqOvP0HWuelkBORnn3pZQSf+NNjj56iuvHBRRhOTkxMUVdMq/wR+FFXyf0Kjn3TFICavRpk89KsRWi9SKmWRLZKg3oq24JAzVxWxT2bsq4FKoz1/GuVyTN0qF3k1DdhiMYq3FjPFTlf64pKVMdWYMGiseSMUXFiV5J4roDNx9apXYzxWqytvslwSXRiC7wBThdZqGeM56dKnt7F2AIU46ZrocY1Zkmx2+nxx5p09o69Rx9KjTcBkK2DnB2nH15+8fjWXFPQ7+ywIVqVLZTVH1MeFbPsATU1urMe4H2Uni6GpEz2VRvABVtlIHQ/Tg89qrOrHopPfgHp3NYUWzkvFWoSxzwqk0yoysSiyuqAggZAUjrmszwZAJbmQylpNi5AdiwzvHXPJH06Vd8YW7+dC2xtoVgW2naCWGATjAql4I4mlzx6O/GfWOmaya/ItP8T0Zbzinrd1lKw9x+Iq2ls/8ABb9k1dE2acF0Pepzfe1ZSwN/Bb8DU8cLex/A0qKTLBlJqSJqhS2b2NXI7bHWgZagNSyy/dVfzQKgvrkFTgj7PehRtlXRai1BT098UBgcmsNroKOuKZDqBOa1eJ7RHP0zaur9RxWSdVOajZC/U1FcIoHHJ96uEI6IlJkySSOTwTW3ZW2F5ABrAt7x1HpOBT01F89SaqeOT6QozS2btxah+OlZF3YlO9TxanleetQ3N3uFTjU4uipOLRSzRU4IorpswonurBk7VWSNq66dh0wPsqrhc8jB7V53Kzq4mNHYyccdaW7tGQEvhVUElicKABkkk8AV0kBzgntRqenrNGVb+KQeMhlYMjDPGQyqeQRxyCKmyuJxk1ti2kvLhH+GhTzFgBKSTgEYZ+hROQQhwT1bA4LtJu7KaVYpLCa3lkiM0CyMcXChd2I3STG7HY4rU8RGS60+7tQoN0YSAikASgsuJIyx+U9wTlTwc5Utm6dpN7PcWUs1r8PHp8LhVMqPJcSmJYwBs4RfQOv/AOSwKVtrVibe5uJLGeFLZ/KbMzMXm3BTCoWX5gSMk8YPWritaxxTS3dhc2iwosmXmkcSB22qsbJLgvuwNpx8wqppOkXQs76KfTWkE901z5TTxLvSV1LKjq3pkTaGB4z2rPtvAF3Ja3sUcctvC6wtbW1xMsjedE4djlfSikArz1yM9KQGvpT2cs4hmsbi1leJpohNNL+ejUZbaVl4YDnaag0PWbG4e3U2t7Al0WWCV55/KdlzlcpOcHII6da0Etry+vreea1a1S0hn4d0ZpZpo9hVAp+QdcmsPwt4NurRtNmkilmCeaktu7hvg2d2C3EK7tuNuCQMnknqRh2wNG31S0b4vdZ3sfwaM8xe5lOCoyIxi4PqZckduDzUh1iOSCW5MWrW0McPng+btjkUlcCLLnkhsgZAwDVaLTrtxrIazmj+NRnhy0RyyxmMR+lj6m3ZHbiq1h4ZkGm3cCafdwzyWQQvJMHSaRSmVjTeQmTubtwMUgNG01W3lS1aO41N/iluCirOCytbJveNxn5z0AGckjsc1BpmqrPOYB+7aOhUSl2ULDuUsplw5KAge1PsfAs9vq9nLGjfDFHlkAxtguHtfKlyM8bmWM8d8+1dDoOjSpqOqyNGypMbXymOMSbIGVtv2EgUAc7oWoC7CtG2srEUkcTvt8nEYYkbw55ypUfXijQdegneBTcapCLjIgknBWKVum1HVyC2ePt+6qv5PvDjwIqSWF7HP5NwrTNL/a+WVyoEW/AJG1enXml0PRLy4tNNsWs5YFtJ4557iUoq4jZ2CxKCWJO/GccY9uaAPQ5NGV4Xt3ZpVMJQl2JYkO+CW55BA55xgV4prGjtbTPE/Veh7MvZh9CK98a0RvnUMfV1APBYnFec+ONHjYysqhGiiDjC4DZlRNpPfqT9PvoA8wm1BI2IPm+gAsVyQoPIOc8V2Oja6j4jZtWmm2+Zi2dpB5ZOA2Cdw6gH7R74rhtS05zLL+blYMiBCnCkhR82eozVlIJEnjd45nAhRX8hzGS2csu5SOMf7KAPTnu7ZDcB59URra2junV5trFJFBCqM/OCQpBxhuM063v7d/hxHNqkjXMEtxGqzgsEiBJVhn5ywKgDOT371S8SeHZbyaxlto3MFzBDb3WeTHFHcQzYlOfmGGUnnlDVrwP4YuLS9u5ZYZDFaxyxWYAGZY3uJbjEeTgnovOPmAoAgTxBbtaS3JbVxFFIkTb5VBd3YoVX1YO043ZIxkda3PEa21jHEXW8l8yVIEWK5nLs7A7RgzKOduOO5HFcmuhXb6Jc2/wdwsvxizqrKo3pJMHO3DdVC8/aMZra8U3N1dxW7rp9yjW9/BMY2MW941EjMVw2OCAOe7CgAOsWLQXMrpfI9oFM9vJPcpOoYgKdpmwQc9c/7Mw/GWq201zLZ6lFHEiPmWeZfNDuFHl/n8HG4E5xxUGr+Hbu7TUrprdoXntore3tiyNKwSRGLvtO0H08DPTPsMwf2NSNpd5DDYXMM0kUA/OziUTOkqkhAXITHqPbj7KdsC9a3li/nrJbX0MkFu10Y5ZpgzwqPmQiYg9hzjr9DhtlPavBJcGx1CKFLdrgSPcShJFUAhUImOWIOR2wDSReErmCS9Ty5blbqwaOK4eQPLE4iYfCuWYekt0IGOFz3xV0PwvKllcxDT5oZ3sZIjK1yjrNJhRsWPzCE3Nz2A24p8n9ipFnT723meKNIry0mnTzLZrmSSSC4AXcVGZGHKnPABHH6rTNAQ5VgUZcb1Y8jPQgjhlPOGHB+4gGm6Tdyvp3xEAtINNQO8kksbNK6RKgwEJ2J6Mkk9M1e1a5NzKrKuFQMseRhmDEFmbuM7Rhe3U8nC64ZOyJpUVYoxuwelCwerAqddOPcj7hUzWpjG5TuHfPBB/4V0816Znx/oRLFcZJqq8YzxU81znpTGbjinHl7B0Q7aKdilrUyN8T9zSmTdWck+cVbjevLOwtxrt6Urzn3qBpfrUTzUFC3NksmCyq2ORkA4J4OM9KrjTYTkbFDYqX4rg1SMp/r2qkSyOx0cFmDE8cDDt+PBq0+jJ0y3/qPn+dSQXGB0596T4kmrbtkpJIii0nafnkP08x8fzqo31q4b0tLz7SSY/nVrBvemnkiqUqdicejDQTKQQ0wIII/Oy9j7FsGtS21K8bJNw6/wCTFnj2/N1Jd8Zxx9Ouahs5u3Wqck1pEqNPZqRzzEDN1N9eIR/u6n8yTHNzcf8Awf0VVEtd3U4qveTBfTuye57VjSZpdGpEJDz8VcDP+L/0NIPN/wC9z/hbn/c1npeE9T2xT1uKVDs53xr45u7SaGKGbcJI2ZmkjiL5DkYG1QuMfSsrwVrc+oz3C3EhIEQOFSJM/nUOD6D3ANUvylyBry3/AMC3+sNVvyXDNzP2/ND/AFi1PsZ2114UQuWZ5SMDhWRcAAAcKmO3tUZ8IxYyJZgP1kJ/mVtSH0nHFUhLzg8YH8taqKZDdEdrcy28eyKeVVBJAxCeT1JJjyad/ZJcj/rEn7MH9HVe6VsZxgVnsTRxQmzZXxJdH+7v+xD/AEdEdwScs8zE9T8ROuT9iuAPuArKhQ5qYkj34qXFApGsrA/pzD/zNx/SU/cvd5f84uP6SslXPWh58DFNQtjcqL1zcJ+i0v8AnFx/SVXS693l/wA4n/8AvVLfVm3gHVjxW/xRiuzLm2+h08obu5HBw0srjIOQdrMQcEA/dTkvSOmKS8CcbagRcmqjGNCbdmjbbiea1hDuTBGfesa3cg1sQSECueb7NoooXGlEdAfspf3KPuK0jcHFIJc5zT+WQcEZLWDD2orXDCin80ifjRiIwqTeexpKKwKQCRvegSGiigY9VNOaT6UUUAQE0nm80UVSEWQ1PlxiiigZSkPNVFudp4pKK0RDJxqpAOO9UZLrmiiloTYC7PvT4r0iiikFnG+OZs3cBP8A2R/nmk/Jif7Zm/wX+8Wiis/2NFo9LW5AqtJIGOaKK1RLCRMis6WArRRQhMdHIRQ9xRRWsYp7M22hhmNMoordJLRk3ZMIDigjFFFZqTbNHFJCoMmript5H4UlFTkbLgurJYb3jBFWLec5oorBmll+OGnywe1FFZ2WR+X9aKKKdk0f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90000"/>
          </a:xfrm>
        </p:spPr>
        <p:txBody>
          <a:bodyPr/>
          <a:lstStyle/>
          <a:p>
            <a:pPr lvl="0"/>
            <a:r>
              <a:rPr lang="en-US" dirty="0" smtClean="0">
                <a:latin typeface="Cambria Math" pitchFamily="18" charset="0"/>
                <a:ea typeface="Cambria Math" pitchFamily="18" charset="0"/>
              </a:rPr>
              <a:t>THE ASM – WHAT IT IS?</a:t>
            </a:r>
            <a:endParaRPr lang="sv-SE" dirty="0">
              <a:latin typeface="Cambria Math" pitchFamily="18" charset="0"/>
              <a:ea typeface="Cambria Math" pitchFamily="18" charset="0"/>
            </a:endParaRPr>
          </a:p>
        </p:txBody>
      </p:sp>
      <p:sp>
        <p:nvSpPr>
          <p:cNvPr id="14" name="Content Placeholder 2"/>
          <p:cNvSpPr txBox="1">
            <a:spLocks/>
          </p:cNvSpPr>
          <p:nvPr/>
        </p:nvSpPr>
        <p:spPr>
          <a:xfrm>
            <a:off x="212437" y="773735"/>
            <a:ext cx="8640960" cy="4752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232693" marR="0" lvl="0" indent="-232693" algn="l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kumimoji="0" lang="sv-SE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2860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lang="en-US" sz="1200" dirty="0" smtClean="0"/>
          </a:p>
          <a:p>
            <a:pPr marL="514350" indent="-28575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itchFamily="34" charset="0"/>
                <a:cs typeface="Calibri" pitchFamily="34" charset="0"/>
              </a:rPr>
              <a:t>It enables ASM employees to provide time customer sales support to the customer.</a:t>
            </a:r>
          </a:p>
          <a:p>
            <a:pPr marL="514350" indent="-28575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endParaRPr lang="en-US" sz="1600" dirty="0">
              <a:latin typeface="Calibri" pitchFamily="34" charset="0"/>
              <a:cs typeface="Calibri" pitchFamily="34" charset="0"/>
            </a:endParaRPr>
          </a:p>
          <a:p>
            <a:pPr marL="514350" lvl="0" indent="-28575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itchFamily="34" charset="0"/>
                <a:cs typeface="Calibri" pitchFamily="34" charset="0"/>
              </a:rPr>
              <a:t>It allows a customer to finish remainder of their work, by pairing them with customer sales and service support personnel in real-time using the same storefront, with little additional effort.</a:t>
            </a:r>
          </a:p>
          <a:p>
            <a:pPr marL="514350" lvl="0" indent="-28575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endParaRPr lang="en-US" sz="1600" dirty="0">
              <a:latin typeface="Calibri" pitchFamily="34" charset="0"/>
              <a:cs typeface="Calibri" pitchFamily="34" charset="0"/>
            </a:endParaRPr>
          </a:p>
          <a:p>
            <a:pPr marL="514350" indent="-28575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" pitchFamily="34" charset="0"/>
                <a:cs typeface="Calibri" pitchFamily="34" charset="0"/>
              </a:rPr>
              <a:t>For example</a:t>
            </a:r>
            <a:r>
              <a:rPr lang="en-US" sz="1600" dirty="0">
                <a:latin typeface="Calibri" pitchFamily="34" charset="0"/>
                <a:cs typeface="Calibri" pitchFamily="34" charset="0"/>
              </a:rPr>
              <a:t>, When a customer gets stuck with making a purchase their account, they contact customer sales and service support person and give them their cart ID number or account name.</a:t>
            </a:r>
          </a:p>
          <a:p>
            <a:pPr marL="514350" indent="-28575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endParaRPr lang="en-US" sz="1600" dirty="0">
              <a:latin typeface="Calibri" pitchFamily="34" charset="0"/>
              <a:cs typeface="Calibri" pitchFamily="34" charset="0"/>
            </a:endParaRPr>
          </a:p>
          <a:p>
            <a:pPr marL="514350" indent="-28575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itchFamily="34" charset="0"/>
                <a:cs typeface="Calibri" pitchFamily="34" charset="0"/>
              </a:rPr>
              <a:t>In simple term, we can say it is set forms that are launched and set up on our storefront.</a:t>
            </a:r>
          </a:p>
          <a:p>
            <a:pPr marL="514350" indent="-28575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endParaRPr lang="en-US" sz="1400" dirty="0">
              <a:latin typeface="Calibri (body)"/>
            </a:endParaRPr>
          </a:p>
          <a:p>
            <a:pPr marL="22860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lang="en-US" sz="1400" dirty="0" smtClean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748464" y="5305772"/>
            <a:ext cx="153329" cy="184731"/>
          </a:xfrm>
        </p:spPr>
        <p:txBody>
          <a:bodyPr/>
          <a:lstStyle/>
          <a:p>
            <a:pPr>
              <a:defRPr/>
            </a:pPr>
            <a:fld id="{9D48B0A8-A3BB-4090-A486-05597CC74740}" type="slidenum">
              <a:rPr lang="en-US" sz="1400" noProof="0" smtClean="0">
                <a:latin typeface="Calibri" pitchFamily="34" charset="0"/>
                <a:cs typeface="Calibri" pitchFamily="34" charset="0"/>
              </a:rPr>
              <a:pPr>
                <a:defRPr/>
              </a:pPr>
              <a:t>3</a:t>
            </a:fld>
            <a:endParaRPr lang="en-US" sz="1400" noProof="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9128305"/>
      </p:ext>
    </p:extLst>
  </p:cSld>
  <p:clrMapOvr>
    <a:masterClrMapping/>
  </p:clrMapOvr>
  <p:transition spd="med">
    <p:push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>	</a:t>
            </a:r>
            <a:br>
              <a:rPr lang="en-US" dirty="0" smtClean="0"/>
            </a:br>
            <a:r>
              <a:rPr lang="en-US" dirty="0" smtClean="0"/>
              <a:t>Cont.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4</a:t>
            </a:fld>
            <a:endParaRPr lang="en-US" noProof="0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95325" y="997744"/>
            <a:ext cx="7791450" cy="422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450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99999"/>
            <a:ext cx="4143372" cy="3900000"/>
          </a:xfrm>
        </p:spPr>
        <p:txBody>
          <a:bodyPr/>
          <a:lstStyle/>
          <a:p>
            <a:pPr>
              <a:lnSpc>
                <a:spcPct val="90000"/>
              </a:lnSpc>
              <a:buNone/>
            </a:pPr>
            <a:endParaRPr lang="sv-SE" dirty="0" smtClean="0"/>
          </a:p>
          <a:p>
            <a:pPr>
              <a:lnSpc>
                <a:spcPct val="90000"/>
              </a:lnSpc>
            </a:pPr>
            <a:endParaRPr lang="sv-SE" dirty="0" smtClean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0" y="1200000"/>
            <a:ext cx="9144000" cy="39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pPr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sv-SE" sz="2000" dirty="0" smtClean="0"/>
              <a:t/>
            </a:r>
            <a:br>
              <a:rPr lang="sv-SE" sz="2000" dirty="0" smtClean="0"/>
            </a:br>
            <a:endParaRPr lang="sv-SE" sz="2000" dirty="0" smtClean="0"/>
          </a:p>
        </p:txBody>
      </p:sp>
      <p:sp>
        <p:nvSpPr>
          <p:cNvPr id="4" name="AutoShape 2" descr="data:image/jpeg;base64,/9j/4AAQSkZJRgABAQAAAQABAAD/2wCEAAkGBhQSEBQUExQUFBQUFBQUFBQWFBUVFBQUFRQVFRUUFRYXHCYeFxkjGRQUHy8gJCcpLCwsFR4xNTAqNSYrLSkBCQoKDgwOFA8PGikkHBwsKSkpKSksKSwsLCwpLCksKSwpLCwpLCwpLCkpKSksKSwpLCkpKSksLCksKSkpLCkpKf/AABEIALcBEwMBIgACEQEDEQH/xAAbAAABBQEBAAAAAAAAAAAAAAAAAQIDBAUGB//EAE4QAAIBAwMCBAMDBQgOCwAAAAECAwAEEQUSITFBBhMiURQyYXGBkQcjQnKSFTNSYqGy0/AWJENjc3SClLGzwcPR4SVEU1RkhJOio9Lx/8QAGQEAAwEBAQAAAAAAAAAAAAAAAAECAwQF/8QAJBEAAgICAgICAgMAAAAAAAAAAAECEQMxEiEEQRNRIkIyYXH/2gAMAwEAAhEDEQA/AKpFNIp5ppr3DzRhFJtp9JSKG7aNtPoAoGN20bafRSAbtpdtOxS0DG7aMU6koEJikxTqSmAmKWiloAKWiigApaSlzQMWlFNzQXAGTwO5PSgB+aKvaZoEs+D+9Rn9Nh6mH97Q/wA5sD2BqLV9JktQWc74R1mAwV7fnUHT9ZePoKxefHyqyvjlVlalpKUVuQOFOFNFOpiHA09TUYp4NAEgNSqagBqRTTAnU1KrVXU1KpoAnDUtRg0UgOfNNNKabmkIKKKTNIYtApM0UDHUUmaM0AOopoNGaBjqKTNFABRRRTAWikpaBBRRSUALSopJwBk+1WI7I4y3pHbj1H7B/X76deTxwoGkJjRs4ABaSTby2AvLADk4wo7kVz5PIjDpds0jjbJLTRnlyEILgjK84UHuz9PuGTTtVuoNOQuyNdzKofAXEMWXKBmblU9YIGdzZHGKg1TUmZLdLSC4ntp43lkMWYmkIJQRPIB+aQFSW5BPvjObEGntfaGI4IUt/MYbI9zeWFW4DGTJBJBAY989utcM8059M6IwSOt0aOYR7riRHdzvwi7UjUgYjXPqYDBO48kk1zfjnUN8kdqOnE8/6qn8zGf1nG7HtH9au6j4yjjHlwAXEijaWBxChHHqk5yf4qZPviuWUMXkkkIaSVtzsBgcAKqqMnCqAABk/wAtXgwuUk2uick0lS2S0tIKcK9Q5RRThSClFADhS00UtADwaeDUQp4NMCdTUimoFNTKaYiUNRTaWkBgmkNLTSakQUUmaKCgzRmkooAXNFJS0ALQuSwVQzM2cKqszEDkkKoJwPeo5JACu5tiF1V5CNwiRjgyFcjIH/PtXX3GmS299bWVhIsDSwSXE91JGk8koRtqod3G3P6K4Hq+nPNmzfH0tmsIcjlA3Udx1HcfaOopa7PWddG6O3u7A3d0IWmnNuF/NxLIyCWMsQ/qChtoII3AdeKhbwvaT+SbW7Cm4jMsMcnr8xBy23o/HcHcRg8cVEPKi/5Ip4n6OTorfvfCUsCs0wwoxh4x5i855blWQfXaeo61lfAMRlcSD3Q7j96/MPwrojmhLTM3Br0VgKKUrikxWpBNZ/k/k1Bi/n+VFGMFcFiSMk4UEDoRyT91br+CBZzusSSyEgFJHbcu36DoCD3PP487H5Pi3ky4XIyeSQAPSOnc12eqrlK8jM38kjsgvxR5pBEEvo4JF3tJBJMWJ4GxgoXGOeST7fQ1mvrDJqF+nlSSXDRxQ2qBDt8ryyTl/ljj3sGYnjjvjFaXijS1N0k7XDwhIGiKRY85wz7iAx/ewcD1dfYis+98RSMgihzDEqhB6iX2qMDLHnoP+ZrOMXJ0kU2lsW40O3trWKKad5PJhVGs0mEaTyFyzF1yCQWkPBI9K9D0qhf6hLcDbIQkQAAt4srHtHADngycduF/i1WjhA56n3PWpBXo4fGUe57OeeW+kCqAAAMAcADgAewFPFIKcK66MRRTqbThQAop1IBTsUgCilxSgUAApwFAWnqtAAoqZaaEqRVp2A4UtKBRSsDnzTTSmmmkSFFJmigYtFJS0DCloFKKYAVyMHke3vWx4ezMYYfP+Hu7XcbG4YB1kgYBXtZVYjft4xznbgjoayKGjBGCAR7EAj8DWOXEsiouEuLO6n068s7mO9KfHSG2a3uVhCxOSJjNFJGjcFRnYR1wAea446DcwDT8qVuba2vL1Y85wUu45jAce8TuuPdsVJYavPBxFNIgH6O7en7EgZR9wFdBY/lHmX9+ijlH8JCYn/A7lJ/Zrhl401rs6Flizm7PX50ttN8me4hSSLUHbyofieFuztMkJ+ZAGIJHIHSulnu4HW5aeBcwXdtarJADE7+esP5wqTj5pSce31rS0K/01nhkTbavbiWOKJ3SIATkPJtXcQwLc5HQ/hUWs+C7iWdzBJAba6ubW6mLFvMjaAx7vKK5VwwiXg4wc1ztNdM0Ml44ZZpIYLmOZozICk6NGT5XEnlzMAHC4OSG4x7VVu9CKfOkkWehI3xn7GHb7zTdShmikvEWC4SGS31GWeOWMPbwyGCXbcWlwOAJSxBTqN5B6cO0K3kW2sYraaKD4m62s9rKbiNgLJ5PXFNlUbco3R9MjIxVxyzhpkuKezrPAqBIpF3q7NuIVT228HDAYrP8UeOpFlMBikhPGAQNxBGc7gSAOvQ9utdH4JulmtRMY40mJkim8sYVpIJHiYr7KSpIH8asb8ptkkkSSqy+ZEcEcbtrH/Y2PxNS5XK2OqVI4SeYscmo6TTVaTdlHcL8zRLv2c49Sjt94qytpu+Rlf6A4f8AYbB/DNepiy4qqPRyzjLbK9KKVkIOCCCOoIwR9xoFdRmKKUUgpwFIQop4FIKcKQCilAqS3tmkOEUsfYDNW5dHlTbuQjeQB9p6A+xqW0ikmUsU4LVv9zW8wouGKnBIzjjrUlpppdwvIBzk4zjFS5IfFmxofhAyLulJUHGBxkjrk11lr4bt06Rg/rer/TVe1uiFA64GM1bR2715s8kpPZ2RhFIrT+ErYsW2kZ7BiB9oFcfrFksUzImdox165xzXfyudhI7A1wF65dyx6nrW3jyk27ZGWKS0VNtFSiOiuyzno5j4dycBTnOOlRSqVODXpS6YnJxyc1Sn8PxsSdoz7+1cy8lfRbwM4HB9jSbq7STSEHYVg39iik++K1jmUmRLG0ZQpRStjAx99IK2MxaWkpaYx1KKbS0AS2dq0qPIuFhjDmSZgSB5YO8Ig5dhg+wz79Ku3Xh6REWSIm4hZQ4YLiQKwBBKAeoYOeOf4veqmjXDD4q1HS6hmaEf+I8oq6f5S7W+1Wpg8QbQskEg3Q6N6h1CSxyxrtkQ9GUhhg88n3rzJ5skJvs6Ywi4kBCsOzD8RTrVniOYZJIT/e3ZR965wa3LV4L4AkGC48gTSuoAQMJHhkVwTzteNuvOMeqql1obxD1soycIRko4wCCG6L16H26966I5sWRfmuyHCcdF2y/KDfRcMYrhfaRNj/tJgfiDU0niXTp123FpJaHzBL5tuSuJdpTzN8O1t20kcg8Gsq00OaQ+lDj3PA/GtNfBzjIJByBgg9D9Qe1TPBi9Oiozn9HdeE7yxW3SGzljZEB2rvzJkksxYN6sliSSR3qbxXZCW2ZGHUZB7ggZB/EV4N450ZrWWPDMpYOTtJUcFemP1u1avglbq4u5I47qVPLi34ZnlQ+pUwUdsH5q4pRqVGydlHRdR8i+iG9oy2owuQCRuhkK7jx8y4zkfTmuk0nxK0nlxXkKXDn4yQPsxNJDCkxQI649Ylt5EOc5BT3zVLUrK4gkKyIj9wUJXgk8gN06dK6PR9S0+RLcSl7Oe3EyxvzGAbhWWR1fBXJLl+cYbn7U4SXbQWiLTIorqKE7pYBOwSFWMd5C5aN5MRSrgqQsbgg7SCAD1GY5fB823fC0dzGRkNEwyRkjO1jjqCOGPQ1pW/gqWM/EwSw3LC5guRHGiW8cnlxTRSHKsyCZ1myWAVSY14GeMA6Fc20lrK8YiEUdv502WbyEbUpndQyHY48uZVdTkbWLfo1ePNOGmTKClsrSwMh2srKw/RZSp/BhmkArpdDhnvbe5WZ3cpNIIGfySoeOaZNqtGd+NqqpEi5GQQSDxT0zQ9wy49sAH8Q1eji8hSi29o55YmnSMcCtDSdJedwoBC59T4JCgdfv6cfWun0bw3GpJbDE9MjoP+NaTQrEpCenknHbnrUT8laiXHD7Ze0u2SFFRFAA79z9Sfer0iqw5AOKwra5zWis/YVwyu7OpMc0CjgAYH0qg1sATtGASTj6mr8j4FU5eRxQmDJrNRWpHise1PNa8FQxonArIutChAJCZPPv3rYzRtoUmtE/6cW9vg4C8fdS10f7kJ3yT75orf5kRwOca4qvLf4FRO5qvNBu4xURX2DZlan4hw2F59z2rDnuXlOT9a3L2wQKc8YrBdgM45rvxca6RzTu+yPbiigGlJroMhRRmkopgOzRmkopoYyVCdrK210dZEbGdrqcg47jqCO4JrW/dO3njnjuI0tZbiMxPdIgMbg4wWc8pzjh+P4x4rMA9q6ay0sNHzwMYOOtcvkY4y7ezXG3pGF4l8NSRnUJFBMEsMEmVOeBOklwoA56B39juP1ransUga2t4Tm2upn2oSXEai3Zx5LEk7SyhsHI9Te/Fi10h4B/az7V7wSZeBvfA6xE+6ce6ms630uI7GtPItbmG4kkNs770eQoYWUbWyqlflKgfqivMlGjpTJob74e4kiilDNHgvFnBwVDBgD2ww5Gce4rpNN1mOXj5X9ie/0NcfaRH91nafyomZoZVilTJO21Ad7a4GAWRgVK9CoJxxVbTdZEkFxcTegIySx7F5+HnkZIsqOpBVunt0JpJtDD8tbeu0/Vm/nRU78kJ/6QuP8AFh/rY60T4fXVRArGRlG7ZPGRhUyPM3BhjqoGDggjHHIrY8KeAm0+8eXzhIksRjUbSrqQ6tzyQRhTzx9lO7Yzpb6wRwdygnGMkc+9cbd+E5AWIC7ck4Jxx9lekRxjvTZo81vDNKGiZY1I8fs7Uo+YtyPzny2ZCcdc7CMit/R769BASWQp0/Or5q/Zub1/+6uygso1Y4UAnqQAKm+G9JxWk8sJfqiI42vZzyxSKJGFvbxySgK88IKO4z+ku3rycEucZqxFbhIwpA/r0rWK8YIxiszU5kSMlmCjsSQB/LWKdKkaUQC/21Rl1AsetZ73ys5UEhgAxVlZW2nowDAEqf4Q4pA1V0RZt2EuTWyJADnPauUhnxVltQOKhopM1b3Us1S+ONZ5mzQJKBWa1vdHNbtndVy1vJWlBd1DLizp1moeeseO8pJbn2qKK6NX4oe9FYJnNFFBZnRRVIyioPN9qj+KrVGZU1W2BQ981yE1syk5GBXU3t2Sdqj76wNQlO7HWu3A2ujmyUUCtFPx/X2puK6zAKKKn+CfGdpxTtIZBQKXbUpt8daLGS2ON69+furt7OHj6Vxdmvq4rpbTUsCuPyNm+I1wgX61Q1TSIJ/nXDdnXhh9/cfQ5qOTUaqSXvNcdWbciGaGaJSkgF3BgjBz5iggqcH5lO0kZGevasu68PRSRS/AhU82GKN4flcvFcROJV3HazBBJn3OCckmt1L2o5oEc7sbW/hDv9o7/wCmocQ5HQ/kwgZIrpZJPMm+NnM3pCjcQm1gq8APH5cn+Wa17123xZXA3N6gQf0X6jqK5XQ/F8kVwLfynmZsfKo3FQCQQ5xkAZ4Y+/IrpdZvVVYi58thltjEbsFT2XOSPp9agov/ABOBUE13mudOuvIcQRPKf4WCFH1J7Cs9r0vI8U17DFIiSO1vCweYCNSzqcHAYAHgnPBqrHZ1D6pFFzK6r9CefwHNJaa2Zxm3ikdQcbm2xoevIYkkj7FJ56Vw2na3b+kpZuHaaww13hy9veSFBKqo21T6TgHPUdeRWj4lWaXWI4FSeWFILebyo7gW8MZ8+QNLKP0wAq4UdduKVhZ0N7dcxiW4RPNZkSO3XezsilnXzGB+VVJJ2pjHWuXbxcFs5722smRUjR4bm6YO8xeZIyQu8yBQGJzuxxiqelLFb67LtRvhZJbi2gb+5RXskcMlwqKOgbGzPvkdAcU/C/g6WXTZrcWMlvNNbBGup5GXzHWZGVFiOWRAuTnaOV6c0WI6K1gnnvZbLUGimdYFure4gQwvHufy2VT1HPvnOOc5wMq1lJaVdwkWORo0mA2iYLwzBenDblJHBKkjirz2EyzSI9wJb65jRJ5Yl2JZ2SE+iIEkiR2JCk85y2PRzpTaYiIqIoVUUKoHQKBgAfdVRE0ZFIWqxJFiqr1ZA/fSh6gzTlNIC/FJVmOas6Jq0rW33UikWIpqsC4qJ7YqKqvcimot6HdF0z0Vn/GCiq+Ni5oxRqpxUMV0zNVUpVm09JrscIxTo5lJt9llrfPUnP21m3duXb0jIA5Na3mAigZxhRWUZuJbimYL2DgZxUPlHGccV1C2Rxyaz9T03aMjOAORW8M1umZyhSsyYE9QrqILUMgrmAK3tOuyoAalnT6aHiaHzWihcYyfasoWhOcjH0rpVYHmoJUXNYRytGrgmY8KbTS+bzUlzHzxVbYaTlYqomM1N8ymbKNlQBMj1ZjkqktTxvUsZ1HgizRZZp3KhmxGgOM7QqEkc9zx91afj658rT5ZwsZkhUNG0i71UsyqSRkZ4PT6U/wWg8gkDkscnue3P4UeMZbV7V4bm4SFXC59S78Kyt6VOST6cdD1rF7NVo81u7ia5Fqszwzwlr8o8ztZW0sET2yxzyJFgMAWkCr3Bzn3sWunzNfzt5RlhN1q8UZiQl4riSMKGnYA/m2Uso6AE89q3da8VWN26Mtk980W7y2aPEK7tuf3zj9Feq9qkbXNQm6GC0U8+lfOl5+p9OaVDIrL8nTDTIkWRoromymllnPm+W1sFZYgAduxDkBc465JouNAs5JY2uLl9QugojKRSxR79kkkwLxRuoCrkj1Nj0r3PKP4dWTBuZprpv747CP7o1OB/LW5pdvFAMRRogPXaoXPbnHXoKdASwiVVKxRwWylmc9ZXLOSzMVTYoYkkk7mznvVK5ty/wC+yyy5/RLeWn7EQUEfrbqt3F5k1UMmapIYlpAkYxGioPZVCj7cAVHcymrcC1K8I7Yp2I56ZDUDWxrpZLUFTgc1VhtwOtMloxY7Bj2p/wACc4roDFxTFUe1AcTLTTsGtaxULVaR8HJ6VXubkfonmqUWwtIvajfqOvP0HWuelkBORnn3pZQSf+NNjj56iuvHBRRhOTkxMUVdMq/wR+FFXyf0Kjn3TFICavRpk89KsRWi9SKmWRLZKg3oq24JAzVxWxT2bsq4FKoz1/GuVyTN0qF3k1DdhiMYq3FjPFTlf64pKVMdWYMGiseSMUXFiV5J4roDNx9apXYzxWqytvslwSXRiC7wBThdZqGeM56dKnt7F2AIU46ZrocY1Zkmx2+nxx5p09o69Rx9KjTcBkK2DnB2nH15+8fjWXFPQ7+ywIVqVLZTVH1MeFbPsATU1urMe4H2Uni6GpEz2VRvABVtlIHQ/Tg89qrOrHopPfgHp3NYUWzkvFWoSxzwqk0yoysSiyuqAggZAUjrmszwZAJbmQylpNi5AdiwzvHXPJH06Vd8YW7+dC2xtoVgW2naCWGATjAql4I4mlzx6O/GfWOmaya/ItP8T0Zbzinrd1lKw9x+Iq2ls/8ABb9k1dE2acF0Pepzfe1ZSwN/Bb8DU8cLex/A0qKTLBlJqSJqhS2b2NXI7bHWgZagNSyy/dVfzQKgvrkFTgj7PehRtlXRai1BT098UBgcmsNroKOuKZDqBOa1eJ7RHP0zaur9RxWSdVOajZC/U1FcIoHHJ96uEI6IlJkySSOTwTW3ZW2F5ABrAt7x1HpOBT01F89SaqeOT6QozS2btxah+OlZF3YlO9TxanleetQ3N3uFTjU4uipOLRSzRU4IorpswonurBk7VWSNq66dh0wPsqrhc8jB7V53Kzq4mNHYyccdaW7tGQEvhVUElicKABkkk8AV0kBzgntRqenrNGVb+KQeMhlYMjDPGQyqeQRxyCKmyuJxk1ti2kvLhH+GhTzFgBKSTgEYZ+hROQQhwT1bA4LtJu7KaVYpLCa3lkiM0CyMcXChd2I3STG7HY4rU8RGS60+7tQoN0YSAikASgsuJIyx+U9wTlTwc5Utm6dpN7PcWUs1r8PHp8LhVMqPJcSmJYwBs4RfQOv/AOSwKVtrVibe5uJLGeFLZ/KbMzMXm3BTCoWX5gSMk8YPWritaxxTS3dhc2iwosmXmkcSB22qsbJLgvuwNpx8wqppOkXQs76KfTWkE901z5TTxLvSV1LKjq3pkTaGB4z2rPtvAF3Ja3sUcctvC6wtbW1xMsjedE4djlfSikArz1yM9KQGvpT2cs4hmsbi1leJpohNNL+ejUZbaVl4YDnaag0PWbG4e3U2t7Al0WWCV55/KdlzlcpOcHII6da0Etry+vreea1a1S0hn4d0ZpZpo9hVAp+QdcmsPwt4NurRtNmkilmCeaktu7hvg2d2C3EK7tuNuCQMnknqRh2wNG31S0b4vdZ3sfwaM8xe5lOCoyIxi4PqZckduDzUh1iOSCW5MWrW0McPng+btjkUlcCLLnkhsgZAwDVaLTrtxrIazmj+NRnhy0RyyxmMR+lj6m3ZHbiq1h4ZkGm3cCafdwzyWQQvJMHSaRSmVjTeQmTubtwMUgNG01W3lS1aO41N/iluCirOCytbJveNxn5z0AGckjsc1BpmqrPOYB+7aOhUSl2ULDuUsplw5KAge1PsfAs9vq9nLGjfDFHlkAxtguHtfKlyM8bmWM8d8+1dDoOjSpqOqyNGypMbXymOMSbIGVtv2EgUAc7oWoC7CtG2srEUkcTvt8nEYYkbw55ypUfXijQdegneBTcapCLjIgknBWKVum1HVyC2ePt+6qv5PvDjwIqSWF7HP5NwrTNL/a+WVyoEW/AJG1enXml0PRLy4tNNsWs5YFtJ4557iUoq4jZ2CxKCWJO/GccY9uaAPQ5NGV4Xt3ZpVMJQl2JYkO+CW55BA55xgV4prGjtbTPE/Veh7MvZh9CK98a0RvnUMfV1APBYnFec+ONHjYysqhGiiDjC4DZlRNpPfqT9PvoA8wm1BI2IPm+gAsVyQoPIOc8V2Oja6j4jZtWmm2+Zi2dpB5ZOA2Cdw6gH7R74rhtS05zLL+blYMiBCnCkhR82eozVlIJEnjd45nAhRX8hzGS2csu5SOMf7KAPTnu7ZDcB59URra2junV5trFJFBCqM/OCQpBxhuM063v7d/hxHNqkjXMEtxGqzgsEiBJVhn5ywKgDOT371S8SeHZbyaxlto3MFzBDb3WeTHFHcQzYlOfmGGUnnlDVrwP4YuLS9u5ZYZDFaxyxWYAGZY3uJbjEeTgnovOPmAoAgTxBbtaS3JbVxFFIkTb5VBd3YoVX1YO043ZIxkda3PEa21jHEXW8l8yVIEWK5nLs7A7RgzKOduOO5HFcmuhXb6Jc2/wdwsvxizqrKo3pJMHO3DdVC8/aMZra8U3N1dxW7rp9yjW9/BMY2MW941EjMVw2OCAOe7CgAOsWLQXMrpfI9oFM9vJPcpOoYgKdpmwQc9c/7Mw/GWq201zLZ6lFHEiPmWeZfNDuFHl/n8HG4E5xxUGr+Hbu7TUrprdoXntore3tiyNKwSRGLvtO0H08DPTPsMwf2NSNpd5DDYXMM0kUA/OziUTOkqkhAXITHqPbj7KdsC9a3li/nrJbX0MkFu10Y5ZpgzwqPmQiYg9hzjr9DhtlPavBJcGx1CKFLdrgSPcShJFUAhUImOWIOR2wDSReErmCS9Ty5blbqwaOK4eQPLE4iYfCuWYekt0IGOFz3xV0PwvKllcxDT5oZ3sZIjK1yjrNJhRsWPzCE3Nz2A24p8n9ipFnT723meKNIry0mnTzLZrmSSSC4AXcVGZGHKnPABHH6rTNAQ5VgUZcb1Y8jPQgjhlPOGHB+4gGm6Tdyvp3xEAtINNQO8kksbNK6RKgwEJ2J6Mkk9M1e1a5NzKrKuFQMseRhmDEFmbuM7Rhe3U8nC64ZOyJpUVYoxuwelCwerAqddOPcj7hUzWpjG5TuHfPBB/4V0816Znx/oRLFcZJqq8YzxU81znpTGbjinHl7B0Q7aKdilrUyN8T9zSmTdWck+cVbjevLOwtxrt6Urzn3qBpfrUTzUFC3NksmCyq2ORkA4J4OM9KrjTYTkbFDYqX4rg1SMp/r2qkSyOx0cFmDE8cDDt+PBq0+jJ0y3/qPn+dSQXGB0596T4kmrbtkpJIii0nafnkP08x8fzqo31q4b0tLz7SSY/nVrBvemnkiqUqdicejDQTKQQ0wIII/Oy9j7FsGtS21K8bJNw6/wCTFnj2/N1Jd8Zxx9Ouahs5u3Wqck1pEqNPZqRzzEDN1N9eIR/u6n8yTHNzcf8Awf0VVEtd3U4qveTBfTuye57VjSZpdGpEJDz8VcDP+L/0NIPN/wC9z/hbn/c1npeE9T2xT1uKVDs53xr45u7SaGKGbcJI2ZmkjiL5DkYG1QuMfSsrwVrc+oz3C3EhIEQOFSJM/nUOD6D3ANUvylyBry3/AMC3+sNVvyXDNzP2/ND/AFi1PsZ2114UQuWZ5SMDhWRcAAAcKmO3tUZ8IxYyJZgP1kJ/mVtSH0nHFUhLzg8YH8taqKZDdEdrcy28eyKeVVBJAxCeT1JJjyad/ZJcj/rEn7MH9HVe6VsZxgVnsTRxQmzZXxJdH+7v+xD/AEdEdwScs8zE9T8ROuT9iuAPuArKhQ5qYkj34qXFApGsrA/pzD/zNx/SU/cvd5f84uP6SslXPWh58DFNQtjcqL1zcJ+i0v8AnFx/SVXS693l/wA4n/8AvVLfVm3gHVjxW/xRiuzLm2+h08obu5HBw0srjIOQdrMQcEA/dTkvSOmKS8CcbagRcmqjGNCbdmjbbiea1hDuTBGfesa3cg1sQSECueb7NoooXGlEdAfspf3KPuK0jcHFIJc5zT+WQcEZLWDD2orXDCin80ifjRiIwqTeexpKKwKQCRvegSGiigY9VNOaT6UUUAQE0nm80UVSEWQ1PlxiiigZSkPNVFudp4pKK0RDJxqpAOO9UZLrmiiloTYC7PvT4r0iiikFnG+OZs3cBP8A2R/nmk/Jif7Zm/wX+8Wiis/2NFo9LW5AqtJIGOaKK1RLCRMis6WArRRQhMdHIRQ9xRRWsYp7M22hhmNMoordJLRk3ZMIDigjFFFZqTbNHFJCoMmript5H4UlFTkbLgurJYb3jBFWLec5oorBmll+OGnywe1FFZ2WR+X9aKKKdk0f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90000"/>
          </a:xfrm>
        </p:spPr>
        <p:txBody>
          <a:bodyPr/>
          <a:lstStyle/>
          <a:p>
            <a:pPr lvl="0"/>
            <a:r>
              <a:rPr lang="en-US" dirty="0" smtClean="0">
                <a:latin typeface="Cambria Math" pitchFamily="18" charset="0"/>
                <a:ea typeface="Cambria Math" pitchFamily="18" charset="0"/>
              </a:rPr>
              <a:t>WHAT DOES IT DO?</a:t>
            </a:r>
            <a:br>
              <a:rPr lang="en-US" dirty="0" smtClean="0">
                <a:latin typeface="Cambria Math" pitchFamily="18" charset="0"/>
                <a:ea typeface="Cambria Math" pitchFamily="18" charset="0"/>
              </a:rPr>
            </a:br>
            <a:endParaRPr lang="sv-SE" dirty="0">
              <a:latin typeface="Cambria Math" pitchFamily="18" charset="0"/>
              <a:ea typeface="Cambria Math" pitchFamily="18" charset="0"/>
            </a:endParaRPr>
          </a:p>
        </p:txBody>
      </p:sp>
      <p:sp>
        <p:nvSpPr>
          <p:cNvPr id="14" name="Content Placeholder 2"/>
          <p:cNvSpPr txBox="1">
            <a:spLocks/>
          </p:cNvSpPr>
          <p:nvPr/>
        </p:nvSpPr>
        <p:spPr>
          <a:xfrm>
            <a:off x="203403" y="312903"/>
            <a:ext cx="8640960" cy="50182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232693" marR="0" lvl="0" indent="-232693" algn="l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32693" marR="0" lvl="0" indent="-232693" algn="l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</a:pPr>
            <a:r>
              <a:rPr kumimoji="0" lang="sv-SE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It</a:t>
            </a:r>
            <a:r>
              <a:rPr kumimoji="0" lang="sv-SE" sz="16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 provides real time customer sales and service support using same storefront</a:t>
            </a: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</a:pPr>
            <a:endParaRPr kumimoji="0" lang="sv-SE" sz="1600" b="0" i="0" u="none" strike="noStrike" kern="1200" cap="none" spc="0" normalizeH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</a:pPr>
            <a:endParaRPr kumimoji="0" lang="sv-SE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767699" y="5331197"/>
            <a:ext cx="153329" cy="184731"/>
          </a:xfrm>
        </p:spPr>
        <p:txBody>
          <a:bodyPr/>
          <a:lstStyle/>
          <a:p>
            <a:pPr>
              <a:defRPr/>
            </a:pPr>
            <a:fld id="{9D48B0A8-A3BB-4090-A486-05597CC74740}" type="slidenum">
              <a:rPr lang="en-US" sz="1400" noProof="0" smtClean="0">
                <a:latin typeface="Calibri" pitchFamily="34" charset="0"/>
                <a:cs typeface="Calibri" pitchFamily="34" charset="0"/>
              </a:rPr>
              <a:pPr>
                <a:defRPr/>
              </a:pPr>
              <a:t>5</a:t>
            </a:fld>
            <a:endParaRPr lang="en-US" sz="1400" noProof="0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7624" y="1215356"/>
            <a:ext cx="6720867" cy="3919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128305"/>
      </p:ext>
    </p:extLst>
  </p:cSld>
  <p:clrMapOvr>
    <a:masterClrMapping/>
  </p:clrMapOvr>
  <p:transition spd="med">
    <p:push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43939"/>
            <a:ext cx="9144000" cy="990000"/>
          </a:xfrm>
        </p:spPr>
        <p:txBody>
          <a:bodyPr/>
          <a:lstStyle/>
          <a:p>
            <a:r>
              <a:rPr lang="en-US" dirty="0" smtClean="0"/>
              <a:t>WHO IS IT FOR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6</a:t>
            </a:fld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0" y="769268"/>
            <a:ext cx="9144000" cy="4838608"/>
          </a:xfrm>
        </p:spPr>
        <p:txBody>
          <a:bodyPr/>
          <a:lstStyle/>
          <a:p>
            <a:pPr marL="0" indent="0">
              <a:buNone/>
            </a:pPr>
            <a:r>
              <a:rPr lang="en-US" sz="2600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	B2C</a:t>
            </a:r>
            <a:endParaRPr lang="en-US" sz="26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0" name="Content Placeholder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1640" y="1345332"/>
            <a:ext cx="6563494" cy="3874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27188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2C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32033" y="1129308"/>
            <a:ext cx="6679933" cy="3900488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7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10515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2B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40750" y="1200150"/>
            <a:ext cx="6262500" cy="3900488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8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40562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IT IS SO COOL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79" y="841276"/>
            <a:ext cx="9144000" cy="4392488"/>
          </a:xfrm>
        </p:spPr>
        <p:txBody>
          <a:bodyPr/>
          <a:lstStyle/>
          <a:p>
            <a:r>
              <a:rPr lang="en-US" sz="1600" dirty="0">
                <a:latin typeface="Calibri" pitchFamily="34" charset="0"/>
                <a:cs typeface="Calibri" pitchFamily="34" charset="0"/>
              </a:rPr>
              <a:t>Firstly by providing sales and service support using same storefront view for customer users. Provides seamless Omni-commerce customer sales and service experience.</a:t>
            </a:r>
          </a:p>
          <a:p>
            <a:endParaRPr lang="en-US" sz="1200" dirty="0">
              <a:latin typeface="Calibri (body)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9</a:t>
            </a:fld>
            <a:endParaRPr lang="en-US" noProof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1640" y="1633364"/>
            <a:ext cx="6268389" cy="3024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408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ppt_Capgemini_A4-Template_TME_1_new[1]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onception personnalisé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Capgemini_A4-Template_TME_1_new[1]</Template>
  <TotalTime>20537</TotalTime>
  <Words>257</Words>
  <Application>Microsoft Office PowerPoint</Application>
  <PresentationFormat>On-screen Show (16:10)</PresentationFormat>
  <Paragraphs>70</Paragraphs>
  <Slides>14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Arial</vt:lpstr>
      <vt:lpstr>Arial Narrow</vt:lpstr>
      <vt:lpstr>Calibri</vt:lpstr>
      <vt:lpstr>Calibri (body)</vt:lpstr>
      <vt:lpstr>Cambria Math</vt:lpstr>
      <vt:lpstr>Courier New</vt:lpstr>
      <vt:lpstr>Gabriola</vt:lpstr>
      <vt:lpstr>Wingdings</vt:lpstr>
      <vt:lpstr>ppt_Capgemini_A4-Template_TME_1_new[1]</vt:lpstr>
      <vt:lpstr>Custom Design</vt:lpstr>
      <vt:lpstr>Conception personnalisée</vt:lpstr>
      <vt:lpstr>PowerPoint Presentation</vt:lpstr>
      <vt:lpstr>Objective</vt:lpstr>
      <vt:lpstr>THE ASM – WHAT IT IS?</vt:lpstr>
      <vt:lpstr>  Cont.. </vt:lpstr>
      <vt:lpstr>WHAT DOES IT DO? </vt:lpstr>
      <vt:lpstr>WHO IS IT FOR?</vt:lpstr>
      <vt:lpstr>B2C</vt:lpstr>
      <vt:lpstr>B2B</vt:lpstr>
      <vt:lpstr>WHY IT IS SO COOL?</vt:lpstr>
      <vt:lpstr> Cont..</vt:lpstr>
      <vt:lpstr> Cont..</vt:lpstr>
      <vt:lpstr>ASM DEMO</vt:lpstr>
      <vt:lpstr>SUMMARY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ppt template</dc:title>
  <dc:creator>vedasari</dc:creator>
  <cp:lastModifiedBy>Dell</cp:lastModifiedBy>
  <cp:revision>1328</cp:revision>
  <dcterms:created xsi:type="dcterms:W3CDTF">2012-06-15T15:21:08Z</dcterms:created>
  <dcterms:modified xsi:type="dcterms:W3CDTF">2016-07-03T16:32:02Z</dcterms:modified>
</cp:coreProperties>
</file>